
<file path=[Content_Types].xml><?xml version="1.0" encoding="utf-8"?>
<Types xmlns="http://schemas.openxmlformats.org/package/2006/content-types">
  <Default Extension="jpeg" ContentType="image/jpeg"/>
  <Default Extension="emf" ContentType="image/x-emf"/>
  <Default Extension="png" ContentType="image/pn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4"/>
  </p:notesMasterIdLst>
  <p:handoutMasterIdLst>
    <p:handoutMasterId r:id="rId33"/>
  </p:handoutMasterIdLst>
  <p:sldIdLst>
    <p:sldId id="374" r:id="rId3"/>
    <p:sldId id="627" r:id="rId5"/>
    <p:sldId id="383" r:id="rId6"/>
    <p:sldId id="559" r:id="rId7"/>
    <p:sldId id="616" r:id="rId8"/>
    <p:sldId id="653" r:id="rId9"/>
    <p:sldId id="654" r:id="rId10"/>
    <p:sldId id="655" r:id="rId11"/>
    <p:sldId id="656" r:id="rId12"/>
    <p:sldId id="658" r:id="rId13"/>
    <p:sldId id="678" r:id="rId14"/>
    <p:sldId id="657" r:id="rId15"/>
    <p:sldId id="558" r:id="rId16"/>
    <p:sldId id="679" r:id="rId17"/>
    <p:sldId id="680" r:id="rId18"/>
    <p:sldId id="671" r:id="rId19"/>
    <p:sldId id="670" r:id="rId20"/>
    <p:sldId id="672" r:id="rId21"/>
    <p:sldId id="673" r:id="rId22"/>
    <p:sldId id="674" r:id="rId23"/>
    <p:sldId id="681" r:id="rId24"/>
    <p:sldId id="682" r:id="rId25"/>
    <p:sldId id="683" r:id="rId26"/>
    <p:sldId id="684" r:id="rId27"/>
    <p:sldId id="685" r:id="rId28"/>
    <p:sldId id="686" r:id="rId29"/>
    <p:sldId id="688" r:id="rId30"/>
    <p:sldId id="418" r:id="rId31"/>
    <p:sldId id="384" r:id="rId32"/>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useTimings="0">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E76861"/>
    <a:srgbClr val="E5AB74"/>
    <a:srgbClr val="5BA78C"/>
    <a:srgbClr val="3F5361"/>
    <a:srgbClr val="F9F6E7"/>
    <a:srgbClr val="E9737E"/>
    <a:srgbClr val="E86E7A"/>
    <a:srgbClr val="DEDDC9"/>
    <a:srgbClr val="FCE1D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000" autoAdjust="0"/>
    <p:restoredTop sz="94660"/>
  </p:normalViewPr>
  <p:slideViewPr>
    <p:cSldViewPr snapToGrid="0">
      <p:cViewPr varScale="1">
        <p:scale>
          <a:sx n="63" d="100"/>
          <a:sy n="63" d="100"/>
        </p:scale>
        <p:origin x="120" y="66"/>
      </p:cViewPr>
      <p:guideLst>
        <p:guide orient="horz" pos="2164"/>
        <p:guide pos="3905"/>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 Type="http://schemas.openxmlformats.org/officeDocument/2006/relationships/slide" Target="slides/slide5.xml"/><Relationship Id="rId7" Type="http://schemas.openxmlformats.org/officeDocument/2006/relationships/slide" Target="slides/slide4.xml"/><Relationship Id="rId6" Type="http://schemas.openxmlformats.org/officeDocument/2006/relationships/slide" Target="slides/slide3.xml"/><Relationship Id="rId5" Type="http://schemas.openxmlformats.org/officeDocument/2006/relationships/slide" Target="slides/slide2.xml"/><Relationship Id="rId4" Type="http://schemas.openxmlformats.org/officeDocument/2006/relationships/notesMaster" Target="notesMasters/notesMaster1.xml"/><Relationship Id="rId36" Type="http://schemas.openxmlformats.org/officeDocument/2006/relationships/tableStyles" Target="tableStyles.xml"/><Relationship Id="rId35" Type="http://schemas.openxmlformats.org/officeDocument/2006/relationships/viewProps" Target="viewProps.xml"/><Relationship Id="rId34" Type="http://schemas.openxmlformats.org/officeDocument/2006/relationships/presProps" Target="presProps.xml"/><Relationship Id="rId33" Type="http://schemas.openxmlformats.org/officeDocument/2006/relationships/handoutMaster" Target="handoutMasters/handoutMaster1.xml"/><Relationship Id="rId32" Type="http://schemas.openxmlformats.org/officeDocument/2006/relationships/slide" Target="slides/slide29.xml"/><Relationship Id="rId31" Type="http://schemas.openxmlformats.org/officeDocument/2006/relationships/slide" Target="slides/slide28.xml"/><Relationship Id="rId30" Type="http://schemas.openxmlformats.org/officeDocument/2006/relationships/slide" Target="slides/slide27.xml"/><Relationship Id="rId3" Type="http://schemas.openxmlformats.org/officeDocument/2006/relationships/slide" Target="slides/slide1.xml"/><Relationship Id="rId29" Type="http://schemas.openxmlformats.org/officeDocument/2006/relationships/slide" Target="slides/slide26.xml"/><Relationship Id="rId28" Type="http://schemas.openxmlformats.org/officeDocument/2006/relationships/slide" Target="slides/slide25.xml"/><Relationship Id="rId27" Type="http://schemas.openxmlformats.org/officeDocument/2006/relationships/slide" Target="slides/slide24.xml"/><Relationship Id="rId26" Type="http://schemas.openxmlformats.org/officeDocument/2006/relationships/slide" Target="slides/slide23.xml"/><Relationship Id="rId25" Type="http://schemas.openxmlformats.org/officeDocument/2006/relationships/slide" Target="slides/slide22.xml"/><Relationship Id="rId24" Type="http://schemas.openxmlformats.org/officeDocument/2006/relationships/slide" Target="slides/slide21.xml"/><Relationship Id="rId23" Type="http://schemas.openxmlformats.org/officeDocument/2006/relationships/slide" Target="slides/slide20.xml"/><Relationship Id="rId22" Type="http://schemas.openxmlformats.org/officeDocument/2006/relationships/slide" Target="slides/slide19.xml"/><Relationship Id="rId21" Type="http://schemas.openxmlformats.org/officeDocument/2006/relationships/slide" Target="slides/slide18.xml"/><Relationship Id="rId20" Type="http://schemas.openxmlformats.org/officeDocument/2006/relationships/slide" Target="slides/slide17.xml"/><Relationship Id="rId2" Type="http://schemas.openxmlformats.org/officeDocument/2006/relationships/theme" Target="theme/theme1.xml"/><Relationship Id="rId19" Type="http://schemas.openxmlformats.org/officeDocument/2006/relationships/slide" Target="slides/slide16.xml"/><Relationship Id="rId18" Type="http://schemas.openxmlformats.org/officeDocument/2006/relationships/slide" Target="slides/slide15.xml"/><Relationship Id="rId17" Type="http://schemas.openxmlformats.org/officeDocument/2006/relationships/slide" Target="slides/slide14.xml"/><Relationship Id="rId16" Type="http://schemas.openxmlformats.org/officeDocument/2006/relationships/slide" Target="slides/slide13.xml"/><Relationship Id="rId15" Type="http://schemas.openxmlformats.org/officeDocument/2006/relationships/slide" Target="slides/slide12.xml"/><Relationship Id="rId14" Type="http://schemas.openxmlformats.org/officeDocument/2006/relationships/slide" Target="slides/slide11.xml"/><Relationship Id="rId13" Type="http://schemas.openxmlformats.org/officeDocument/2006/relationships/slide" Target="slides/slide10.xml"/><Relationship Id="rId12" Type="http://schemas.openxmlformats.org/officeDocument/2006/relationships/slide" Target="slides/slide9.xml"/><Relationship Id="rId11" Type="http://schemas.openxmlformats.org/officeDocument/2006/relationships/slide" Target="slides/slide8.xml"/><Relationship Id="rId10" Type="http://schemas.openxmlformats.org/officeDocument/2006/relationships/slide" Target="slides/slide7.xml"/><Relationship Id="rId1" Type="http://schemas.openxmlformats.org/officeDocument/2006/relationships/slideMaster" Target="slideMasters/slide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F9B84EA-7D68-4D60-9CB1-D50884785D1C}" type="datetimeFigureOut">
              <a:rPr lang="zh-CN" altLang="en-US" smtClean="0"/>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4E0FC9-F1F8-4FAE-9988-3BA365CFD46F}" type="slidenum">
              <a:rPr lang="zh-CN" altLang="en-US" smtClean="0"/>
            </a:fld>
            <a:endParaRPr lang="zh-CN"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56BC222-821E-4E63-8AA5-B71CF0981595}"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2F8BFCF-3C62-4E26-BB6D-2CE3241276D0}"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幻灯片图像占位符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4099"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r>
              <a:rPr lang="zh-CN" altLang="en-US"/>
              <a:t>模板来自于 </a:t>
            </a:r>
            <a:r>
              <a:rPr lang="en-US" altLang="zh-CN"/>
              <a:t>http://docer.wps.cn</a:t>
            </a:r>
            <a:endParaRPr lang="zh-CN" altLang="en-US"/>
          </a:p>
        </p:txBody>
      </p:sp>
      <p:sp>
        <p:nvSpPr>
          <p:cNvPr id="4100"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fld id="{C63EB84C-F980-4B1E-8A56-02D13E2798CA}" type="slidenum">
              <a:rPr lang="zh-CN" altLang="en-US" smtClean="0">
                <a:latin typeface="Calibri" panose="020F0502020204030204" charset="0"/>
              </a:rPr>
            </a:fld>
            <a:endParaRPr lang="zh-CN" altLang="en-US">
              <a:latin typeface="Calibri" panose="020F0502020204030204" charset="0"/>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showMasterSp="0">
  <p:cSld name="标题幻灯片">
    <p:bg>
      <p:bgPr>
        <a:solidFill>
          <a:srgbClr val="F9F6E7"/>
        </a:solidFill>
        <a:effectLst/>
      </p:bgPr>
    </p:bg>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2FF2E821-025F-4B15-A27C-65B12F3A2CA3}"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BFEDD757-FC75-4840-AABC-5FEC07B4A531}" type="slidenum">
              <a:rPr lang="zh-CN" altLang="en-US" smtClean="0"/>
            </a:fld>
            <a:endParaRPr lang="zh-CN" altLang="en-US"/>
          </a:p>
        </p:txBody>
      </p:sp>
      <p:sp>
        <p:nvSpPr>
          <p:cNvPr id="2" name="标题 1"/>
          <p:cNvSpPr>
            <a:spLocks noGrp="1"/>
          </p:cNvSpPr>
          <p:nvPr>
            <p:ph type="ctrTitle"/>
          </p:nvPr>
        </p:nvSpPr>
        <p:spPr>
          <a:xfrm>
            <a:off x="211694" y="2095501"/>
            <a:ext cx="5865255" cy="1786520"/>
          </a:xfrm>
        </p:spPr>
        <p:txBody>
          <a:bodyPr anchor="b">
            <a:noAutofit/>
          </a:bodyPr>
          <a:lstStyle>
            <a:lvl1pPr algn="ctr">
              <a:lnSpc>
                <a:spcPct val="110000"/>
              </a:lnSpc>
              <a:defRPr sz="4800" b="1">
                <a:solidFill>
                  <a:schemeClr val="accent1"/>
                </a:solidFill>
                <a:latin typeface="微软雅黑" panose="020B0503020204020204" pitchFamily="34" charset="-122"/>
                <a:ea typeface="微软雅黑" panose="020B0503020204020204" pitchFamily="34" charset="-122"/>
              </a:defRPr>
            </a:lvl1pPr>
          </a:lstStyle>
          <a:p>
            <a:r>
              <a:rPr lang="zh-CN" altLang="en-US" dirty="0"/>
              <a:t>单击此处编辑母版标题样式</a:t>
            </a:r>
            <a:endParaRPr lang="zh-CN" altLang="en-US" dirty="0"/>
          </a:p>
        </p:txBody>
      </p:sp>
      <p:sp>
        <p:nvSpPr>
          <p:cNvPr id="3" name="副标题 2"/>
          <p:cNvSpPr>
            <a:spLocks noGrp="1"/>
          </p:cNvSpPr>
          <p:nvPr>
            <p:ph type="subTitle" idx="1"/>
          </p:nvPr>
        </p:nvSpPr>
        <p:spPr>
          <a:xfrm>
            <a:off x="211694" y="3882020"/>
            <a:ext cx="5865254" cy="441321"/>
          </a:xfrm>
        </p:spPr>
        <p:txBody>
          <a:bodyPr>
            <a:normAutofit/>
          </a:bodyPr>
          <a:lstStyle>
            <a:lvl1pPr marL="0" indent="0" algn="ctr">
              <a:buNone/>
              <a:defRPr sz="1800">
                <a:solidFill>
                  <a:schemeClr val="accent1"/>
                </a:solidFill>
                <a:latin typeface="微软雅黑" panose="020B0503020204020204" pitchFamily="34" charset="-122"/>
                <a:ea typeface="微软雅黑" panose="020B0503020204020204" pitchFamily="34" charset="-122"/>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母版副标题样式</a:t>
            </a:r>
            <a:endParaRPr lang="zh-CN" altLang="en-US" dirty="0"/>
          </a:p>
        </p:txBody>
      </p:sp>
      <p:pic>
        <p:nvPicPr>
          <p:cNvPr id="7" name="图片 6"/>
          <p:cNvPicPr>
            <a:picLocks noChangeAspect="1"/>
          </p:cNvPicPr>
          <p:nvPr userDrawn="1"/>
        </p:nvPicPr>
        <p:blipFill rotWithShape="1">
          <a:blip r:embed="rId2"/>
          <a:srcRect l="41221" r="8469"/>
          <a:stretch>
            <a:fillRect/>
          </a:stretch>
        </p:blipFill>
        <p:spPr>
          <a:xfrm>
            <a:off x="5920152" y="0"/>
            <a:ext cx="6271848" cy="6858000"/>
          </a:xfrm>
          <a:prstGeom prst="rect">
            <a:avLst/>
          </a:prstGeom>
        </p:spPr>
      </p:pic>
    </p:spTree>
  </p:cSld>
  <p:clrMapOvr>
    <a:masterClrMapping/>
  </p:clrMapOvr>
  <p:transition spd="slow" advClick="0" advTm="3000">
    <p:randomBar dir="vert"/>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nvPr>
        </p:nvSpPr>
        <p:spPr/>
        <p:txBody>
          <a:bodyPr/>
          <a:lstStyle/>
          <a:p>
            <a:fld id="{2FF2E821-025F-4B15-A27C-65B12F3A2CA3}"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BFEDD757-FC75-4840-AABC-5FEC07B4A531}" type="slidenum">
              <a:rPr lang="zh-CN" altLang="en-US" smtClean="0"/>
            </a:fld>
            <a:endParaRPr lang="zh-CN" altLang="en-US"/>
          </a:p>
        </p:txBody>
      </p:sp>
    </p:spTree>
  </p:cSld>
  <p:clrMapOvr>
    <a:masterClrMapping/>
  </p:clrMapOvr>
  <p:transition spd="slow" advClick="0" advTm="3000">
    <p:randomBar dir="vert"/>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a:t>单击此处编辑母版标题样式</a:t>
            </a:r>
            <a:endParaRPr lang="zh-CN" altLang="en-US"/>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nvPr>
        </p:nvSpPr>
        <p:spPr/>
        <p:txBody>
          <a:bodyPr/>
          <a:lstStyle/>
          <a:p>
            <a:fld id="{2FF2E821-025F-4B15-A27C-65B12F3A2CA3}"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BFEDD757-FC75-4840-AABC-5FEC07B4A531}" type="slidenum">
              <a:rPr lang="zh-CN" altLang="en-US" smtClean="0"/>
            </a:fld>
            <a:endParaRPr lang="zh-CN" altLang="en-US"/>
          </a:p>
        </p:txBody>
      </p:sp>
    </p:spTree>
  </p:cSld>
  <p:clrMapOvr>
    <a:masterClrMapping/>
  </p:clrMapOvr>
  <p:transition spd="slow" advClick="0" advTm="3000">
    <p:randomBar dir="vert"/>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
        <p:nvSpPr>
          <p:cNvPr id="6" name="矩形 5"/>
          <p:cNvSpPr/>
          <p:nvPr userDrawn="1"/>
        </p:nvSpPr>
        <p:spPr>
          <a:xfrm>
            <a:off x="0" y="0"/>
            <a:ext cx="12192000" cy="6858000"/>
          </a:xfrm>
          <a:prstGeom prst="rect">
            <a:avLst/>
          </a:prstGeom>
          <a:solidFill>
            <a:srgbClr val="F7F2DA">
              <a:alpha val="4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7" name="图片 6"/>
          <p:cNvPicPr>
            <a:picLocks noChangeAspect="1"/>
          </p:cNvPicPr>
          <p:nvPr userDrawn="1"/>
        </p:nvPicPr>
        <p:blipFill rotWithShape="1">
          <a:blip r:embed="rId2" cstate="print">
            <a:extLst>
              <a:ext uri="{28A0092B-C50C-407E-A947-70E740481C1C}">
                <a14:useLocalDpi xmlns:a14="http://schemas.microsoft.com/office/drawing/2010/main" val="0"/>
              </a:ext>
            </a:extLst>
          </a:blip>
          <a:srcRect l="26421" t="53545" r="22272"/>
          <a:stretch>
            <a:fillRect/>
          </a:stretch>
        </p:blipFill>
        <p:spPr>
          <a:xfrm>
            <a:off x="9140134" y="5748469"/>
            <a:ext cx="2962415" cy="1257304"/>
          </a:xfrm>
          <a:prstGeom prst="rect">
            <a:avLst/>
          </a:prstGeom>
        </p:spPr>
      </p:pic>
      <p:sp>
        <p:nvSpPr>
          <p:cNvPr id="4" name="标题 1"/>
          <p:cNvSpPr txBox="1"/>
          <p:nvPr userDrawn="1"/>
        </p:nvSpPr>
        <p:spPr>
          <a:xfrm>
            <a:off x="9627990" y="0"/>
            <a:ext cx="2634114" cy="35613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1600" b="1" i="1" dirty="0"/>
              <a:t>教学监督热线 </a:t>
            </a:r>
            <a:r>
              <a:rPr lang="en-US" altLang="zh-CN" sz="1600" b="1" i="1" dirty="0"/>
              <a:t>400-1567-315</a:t>
            </a:r>
            <a:endParaRPr lang="zh-CN" altLang="en-US" sz="1600" b="1" i="1" dirty="0"/>
          </a:p>
        </p:txBody>
      </p:sp>
      <p:pic>
        <p:nvPicPr>
          <p:cNvPr id="8" name="图片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6130336"/>
            <a:ext cx="1951463" cy="727664"/>
          </a:xfrm>
          <a:prstGeom prst="rect">
            <a:avLst/>
          </a:prstGeom>
        </p:spPr>
      </p:pic>
    </p:spTree>
  </p:cSld>
  <p:clrMapOvr>
    <a:masterClrMapping/>
  </p:clrMapOvr>
  <p:transition spd="slow" advClick="0" advTm="3000">
    <p:randomBar dir="vert"/>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idx="1"/>
          </p:nvPr>
        </p:nvSpPr>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nvPr>
        </p:nvSpPr>
        <p:spPr/>
        <p:txBody>
          <a:bodyPr/>
          <a:lstStyle/>
          <a:p>
            <a:fld id="{2FF2E821-025F-4B15-A27C-65B12F3A2CA3}"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BFEDD757-FC75-4840-AABC-5FEC07B4A531}" type="slidenum">
              <a:rPr lang="zh-CN" altLang="en-US" smtClean="0"/>
            </a:fld>
            <a:endParaRPr lang="zh-CN" altLang="en-US"/>
          </a:p>
        </p:txBody>
      </p:sp>
    </p:spTree>
  </p:cSld>
  <p:clrMapOvr>
    <a:masterClrMapping/>
  </p:clrMapOvr>
  <p:transition spd="slow" advClick="0" advTm="3000">
    <p:randomBar dir="vert"/>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showMasterSp="0">
  <p:cSld name="节标题">
    <p:bg>
      <p:bgPr>
        <a:solidFill>
          <a:srgbClr val="F9F6E7"/>
        </a:solidFill>
        <a:effectLst/>
      </p:bgPr>
    </p:bg>
    <p:spTree>
      <p:nvGrpSpPr>
        <p:cNvPr id="1" name=""/>
        <p:cNvGrpSpPr/>
        <p:nvPr/>
      </p:nvGrpSpPr>
      <p:grpSpPr>
        <a:xfrm>
          <a:off x="0" y="0"/>
          <a:ext cx="0" cy="0"/>
          <a:chOff x="0" y="0"/>
          <a:chExt cx="0" cy="0"/>
        </a:xfrm>
      </p:grpSpPr>
      <p:sp>
        <p:nvSpPr>
          <p:cNvPr id="2" name="标题 1"/>
          <p:cNvSpPr>
            <a:spLocks noGrp="1"/>
          </p:cNvSpPr>
          <p:nvPr>
            <p:ph type="title"/>
          </p:nvPr>
        </p:nvSpPr>
        <p:spPr>
          <a:xfrm>
            <a:off x="838201" y="2675744"/>
            <a:ext cx="7162800" cy="1502910"/>
          </a:xfrm>
        </p:spPr>
        <p:txBody>
          <a:bodyPr anchor="b" anchorCtr="0">
            <a:normAutofit/>
          </a:bodyPr>
          <a:lstStyle>
            <a:lvl1pPr algn="ctr">
              <a:defRPr sz="3600" b="1">
                <a:solidFill>
                  <a:schemeClr val="accent1"/>
                </a:solidFill>
              </a:defRPr>
            </a:lvl1pPr>
          </a:lstStyle>
          <a:p>
            <a:r>
              <a:rPr lang="zh-CN" altLang="en-US"/>
              <a:t>单击此处编辑母版标题样式</a:t>
            </a:r>
            <a:endParaRPr lang="zh-CN" altLang="en-US"/>
          </a:p>
        </p:txBody>
      </p:sp>
      <p:sp>
        <p:nvSpPr>
          <p:cNvPr id="3" name="文本占位符 2"/>
          <p:cNvSpPr>
            <a:spLocks noGrp="1"/>
          </p:cNvSpPr>
          <p:nvPr>
            <p:ph type="body" idx="1"/>
          </p:nvPr>
        </p:nvSpPr>
        <p:spPr>
          <a:xfrm>
            <a:off x="838201" y="4283999"/>
            <a:ext cx="7162800" cy="452437"/>
          </a:xfrm>
        </p:spPr>
        <p:txBody>
          <a:bodyPr>
            <a:normAutofit/>
          </a:bodyPr>
          <a:lstStyle>
            <a:lvl1pPr marL="0" indent="0" algn="ctr">
              <a:buNone/>
              <a:defRPr sz="20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endParaRPr lang="zh-CN" altLang="en-US"/>
          </a:p>
        </p:txBody>
      </p:sp>
      <p:sp>
        <p:nvSpPr>
          <p:cNvPr id="4" name="日期占位符 3"/>
          <p:cNvSpPr>
            <a:spLocks noGrp="1"/>
          </p:cNvSpPr>
          <p:nvPr>
            <p:ph type="dt" sz="half" idx="10"/>
          </p:nvPr>
        </p:nvSpPr>
        <p:spPr/>
        <p:txBody>
          <a:bodyPr/>
          <a:lstStyle>
            <a:lvl1pPr>
              <a:defRPr>
                <a:solidFill>
                  <a:schemeClr val="tx1"/>
                </a:solidFill>
              </a:defRPr>
            </a:lvl1pPr>
          </a:lstStyle>
          <a:p>
            <a:fld id="{2FF2E821-025F-4B15-A27C-65B12F3A2CA3}" type="datetimeFigureOut">
              <a:rPr lang="zh-CN" altLang="en-US" smtClean="0"/>
            </a:fld>
            <a:endParaRPr lang="zh-CN" altLang="en-US"/>
          </a:p>
        </p:txBody>
      </p:sp>
      <p:sp>
        <p:nvSpPr>
          <p:cNvPr id="5" name="页脚占位符 4"/>
          <p:cNvSpPr>
            <a:spLocks noGrp="1"/>
          </p:cNvSpPr>
          <p:nvPr>
            <p:ph type="ftr" sz="quarter" idx="11"/>
          </p:nvPr>
        </p:nvSpPr>
        <p:spPr/>
        <p:txBody>
          <a:bodyPr/>
          <a:lstStyle>
            <a:lvl1pPr>
              <a:defRPr>
                <a:solidFill>
                  <a:schemeClr val="tx1"/>
                </a:solidFill>
              </a:defRPr>
            </a:lvl1pPr>
          </a:lstStyle>
          <a:p>
            <a:endParaRPr lang="zh-CN" altLang="en-US"/>
          </a:p>
        </p:txBody>
      </p:sp>
      <p:sp>
        <p:nvSpPr>
          <p:cNvPr id="6" name="灯片编号占位符 5"/>
          <p:cNvSpPr>
            <a:spLocks noGrp="1"/>
          </p:cNvSpPr>
          <p:nvPr>
            <p:ph type="sldNum" sz="quarter" idx="12"/>
          </p:nvPr>
        </p:nvSpPr>
        <p:spPr/>
        <p:txBody>
          <a:bodyPr/>
          <a:lstStyle>
            <a:lvl1pPr>
              <a:defRPr>
                <a:solidFill>
                  <a:schemeClr val="tx1"/>
                </a:solidFill>
              </a:defRPr>
            </a:lvl1pPr>
          </a:lstStyle>
          <a:p>
            <a:fld id="{BFEDD757-FC75-4840-AABC-5FEC07B4A531}" type="slidenum">
              <a:rPr lang="zh-CN" altLang="en-US" smtClean="0"/>
            </a:fld>
            <a:endParaRPr lang="zh-CN" altLang="en-US"/>
          </a:p>
        </p:txBody>
      </p:sp>
      <p:pic>
        <p:nvPicPr>
          <p:cNvPr id="7" name="图片 6"/>
          <p:cNvPicPr>
            <a:picLocks noChangeAspect="1"/>
          </p:cNvPicPr>
          <p:nvPr userDrawn="1"/>
        </p:nvPicPr>
        <p:blipFill rotWithShape="1">
          <a:blip r:embed="rId2"/>
          <a:srcRect l="31501" r="7311" b="49954"/>
          <a:stretch>
            <a:fillRect/>
          </a:stretch>
        </p:blipFill>
        <p:spPr>
          <a:xfrm>
            <a:off x="4965527" y="0"/>
            <a:ext cx="7226473" cy="3067050"/>
          </a:xfrm>
          <a:prstGeom prst="rect">
            <a:avLst/>
          </a:prstGeom>
        </p:spPr>
      </p:pic>
    </p:spTree>
  </p:cSld>
  <p:clrMapOvr>
    <a:overrideClrMapping bg1="lt1" tx1="dk1" bg2="lt2" tx2="dk2" accent1="accent1" accent2="accent2" accent3="accent3" accent4="accent4" accent5="accent5" accent6="accent6" hlink="hlink" folHlink="folHlink"/>
  </p:clrMapOvr>
  <p:transition spd="slow" advClick="0" advTm="3000">
    <p:randomBar dir="vert"/>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sz="half" idx="1"/>
          </p:nvPr>
        </p:nvSpPr>
        <p:spPr>
          <a:xfrm>
            <a:off x="838200" y="1825625"/>
            <a:ext cx="5181600" cy="4351338"/>
          </a:xfrm>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内容占位符 3"/>
          <p:cNvSpPr>
            <a:spLocks noGrp="1"/>
          </p:cNvSpPr>
          <p:nvPr>
            <p:ph sz="half" idx="2"/>
          </p:nvPr>
        </p:nvSpPr>
        <p:spPr>
          <a:xfrm>
            <a:off x="6172200" y="1825625"/>
            <a:ext cx="5181600" cy="4351338"/>
          </a:xfrm>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5" name="日期占位符 4"/>
          <p:cNvSpPr>
            <a:spLocks noGrp="1"/>
          </p:cNvSpPr>
          <p:nvPr>
            <p:ph type="dt" sz="half" idx="10"/>
          </p:nvPr>
        </p:nvSpPr>
        <p:spPr/>
        <p:txBody>
          <a:bodyPr/>
          <a:lstStyle/>
          <a:p>
            <a:fld id="{2FF2E821-025F-4B15-A27C-65B12F3A2CA3}"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BFEDD757-FC75-4840-AABC-5FEC07B4A531}" type="slidenum">
              <a:rPr lang="zh-CN" altLang="en-US" smtClean="0"/>
            </a:fld>
            <a:endParaRPr lang="zh-CN" altLang="en-US"/>
          </a:p>
        </p:txBody>
      </p:sp>
    </p:spTree>
  </p:cSld>
  <p:clrMapOvr>
    <a:masterClrMapping/>
  </p:clrMapOvr>
  <p:transition spd="slow" advClick="0" advTm="3000">
    <p:randomBar dir="vert"/>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1295400" y="365125"/>
            <a:ext cx="10059988" cy="968375"/>
          </a:xfrm>
        </p:spPr>
        <p:txBody>
          <a:bodyPr/>
          <a:lstStyle/>
          <a:p>
            <a:r>
              <a:rPr lang="zh-CN" altLang="en-US"/>
              <a:t>单击此处编辑母版标题样式</a:t>
            </a:r>
            <a:endParaRPr lang="zh-CN" altLang="en-US"/>
          </a:p>
        </p:txBody>
      </p:sp>
      <p:sp>
        <p:nvSpPr>
          <p:cNvPr id="3" name="文本占位符 2"/>
          <p:cNvSpPr>
            <a:spLocks noGrp="1"/>
          </p:cNvSpPr>
          <p:nvPr>
            <p:ph type="body" idx="1"/>
          </p:nvPr>
        </p:nvSpPr>
        <p:spPr>
          <a:xfrm>
            <a:off x="839788" y="158591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4" name="内容占位符 3"/>
          <p:cNvSpPr>
            <a:spLocks noGrp="1"/>
          </p:cNvSpPr>
          <p:nvPr>
            <p:ph sz="half" idx="2"/>
          </p:nvPr>
        </p:nvSpPr>
        <p:spPr>
          <a:xfrm>
            <a:off x="839788" y="2409825"/>
            <a:ext cx="5157787" cy="3684588"/>
          </a:xfrm>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5" name="文本占位符 4"/>
          <p:cNvSpPr>
            <a:spLocks noGrp="1"/>
          </p:cNvSpPr>
          <p:nvPr>
            <p:ph type="body" sz="quarter" idx="3"/>
          </p:nvPr>
        </p:nvSpPr>
        <p:spPr>
          <a:xfrm>
            <a:off x="6172200" y="158591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6" name="内容占位符 5"/>
          <p:cNvSpPr>
            <a:spLocks noGrp="1"/>
          </p:cNvSpPr>
          <p:nvPr>
            <p:ph sz="quarter" idx="4"/>
          </p:nvPr>
        </p:nvSpPr>
        <p:spPr>
          <a:xfrm>
            <a:off x="6172200" y="2409825"/>
            <a:ext cx="5183188" cy="3684588"/>
          </a:xfrm>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7" name="日期占位符 6"/>
          <p:cNvSpPr>
            <a:spLocks noGrp="1"/>
          </p:cNvSpPr>
          <p:nvPr>
            <p:ph type="dt" sz="half" idx="10"/>
          </p:nvPr>
        </p:nvSpPr>
        <p:spPr/>
        <p:txBody>
          <a:bodyPr/>
          <a:lstStyle/>
          <a:p>
            <a:fld id="{2FF2E821-025F-4B15-A27C-65B12F3A2CA3}" type="datetimeFigureOut">
              <a:rPr lang="zh-CN" altLang="en-US" smtClean="0"/>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BFEDD757-FC75-4840-AABC-5FEC07B4A531}" type="slidenum">
              <a:rPr lang="zh-CN" altLang="en-US" smtClean="0"/>
            </a:fld>
            <a:endParaRPr lang="zh-CN" altLang="en-US"/>
          </a:p>
        </p:txBody>
      </p:sp>
    </p:spTree>
  </p:cSld>
  <p:clrMapOvr>
    <a:masterClrMapping/>
  </p:clrMapOvr>
  <p:transition spd="slow" advClick="0" advTm="3000">
    <p:randomBar dir="vert"/>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514350" y="342616"/>
            <a:ext cx="11239500" cy="968375"/>
          </a:xfrm>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fld id="{2FF2E821-025F-4B15-A27C-65B12F3A2CA3}" type="datetimeFigureOut">
              <a:rPr lang="zh-CN" altLang="en-US" smtClean="0"/>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BFEDD757-FC75-4840-AABC-5FEC07B4A531}" type="slidenum">
              <a:rPr lang="zh-CN" altLang="en-US" smtClean="0"/>
            </a:fld>
            <a:endParaRPr lang="zh-CN" altLang="en-US"/>
          </a:p>
        </p:txBody>
      </p:sp>
    </p:spTree>
  </p:cSld>
  <p:clrMapOvr>
    <a:masterClrMapping/>
  </p:clrMapOvr>
  <p:transition spd="slow" advClick="0" advTm="3000">
    <p:randomBar dir="vert"/>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bg>
      <p:bgPr>
        <a:solidFill>
          <a:srgbClr val="F9F6E7"/>
        </a:solidFill>
        <a:effectLst/>
      </p:bgPr>
    </p:bg>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2FF2E821-025F-4B15-A27C-65B12F3A2CA3}" type="datetimeFigureOut">
              <a:rPr lang="zh-CN" altLang="en-US" smtClean="0"/>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BFEDD757-FC75-4840-AABC-5FEC07B4A531}" type="slidenum">
              <a:rPr lang="zh-CN" altLang="en-US" smtClean="0"/>
            </a:fld>
            <a:endParaRPr lang="zh-CN" altLang="en-US"/>
          </a:p>
        </p:txBody>
      </p:sp>
    </p:spTree>
  </p:cSld>
  <p:clrMapOvr>
    <a:overrideClrMapping bg1="lt1" tx1="dk1" bg2="lt2" tx2="dk2" accent1="accent1" accent2="accent2" accent3="accent3" accent4="accent4" accent5="accent5" accent6="accent6" hlink="hlink" folHlink="folHlink"/>
  </p:clrMapOvr>
  <p:transition spd="slow" advClick="0" advTm="3000">
    <p:randomBar dir="vert"/>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zh-CN" altLang="en-US"/>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endParaRPr lang="zh-CN" altLang="en-US"/>
          </a:p>
        </p:txBody>
      </p:sp>
      <p:sp>
        <p:nvSpPr>
          <p:cNvPr id="5" name="日期占位符 4"/>
          <p:cNvSpPr>
            <a:spLocks noGrp="1"/>
          </p:cNvSpPr>
          <p:nvPr>
            <p:ph type="dt" sz="half" idx="10"/>
          </p:nvPr>
        </p:nvSpPr>
        <p:spPr/>
        <p:txBody>
          <a:bodyPr/>
          <a:lstStyle/>
          <a:p>
            <a:fld id="{2FF2E821-025F-4B15-A27C-65B12F3A2CA3}"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BFEDD757-FC75-4840-AABC-5FEC07B4A531}" type="slidenum">
              <a:rPr lang="zh-CN" altLang="en-US" smtClean="0"/>
            </a:fld>
            <a:endParaRPr lang="zh-CN" altLang="en-US"/>
          </a:p>
        </p:txBody>
      </p:sp>
    </p:spTree>
  </p:cSld>
  <p:clrMapOvr>
    <a:masterClrMapping/>
  </p:clrMapOvr>
  <p:transition spd="slow" advClick="0" advTm="3000">
    <p:randomBar dir="vert"/>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zh-CN" altLang="en-US"/>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endParaRPr lang="zh-CN" altLang="en-US"/>
          </a:p>
        </p:txBody>
      </p:sp>
      <p:sp>
        <p:nvSpPr>
          <p:cNvPr id="5" name="日期占位符 4"/>
          <p:cNvSpPr>
            <a:spLocks noGrp="1"/>
          </p:cNvSpPr>
          <p:nvPr>
            <p:ph type="dt" sz="half" idx="10"/>
          </p:nvPr>
        </p:nvSpPr>
        <p:spPr/>
        <p:txBody>
          <a:bodyPr/>
          <a:lstStyle/>
          <a:p>
            <a:fld id="{2FF2E821-025F-4B15-A27C-65B12F3A2CA3}"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BFEDD757-FC75-4840-AABC-5FEC07B4A531}" type="slidenum">
              <a:rPr lang="zh-CN" altLang="en-US" smtClean="0"/>
            </a:fld>
            <a:endParaRPr lang="zh-CN" altLang="en-US"/>
          </a:p>
        </p:txBody>
      </p:sp>
    </p:spTree>
  </p:cSld>
  <p:clrMapOvr>
    <a:masterClrMapping/>
  </p:clrMapOvr>
  <p:transition spd="slow" advClick="0" advTm="3000">
    <p:randomBar dir="vert"/>
  </p:transition>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3" Type="http://schemas.openxmlformats.org/officeDocument/2006/relationships/theme" Target="../theme/theme1.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9F6E7"/>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32034"/>
            <a:ext cx="10515600" cy="968375"/>
          </a:xfrm>
          <a:prstGeom prst="rect">
            <a:avLst/>
          </a:prstGeom>
        </p:spPr>
        <p:txBody>
          <a:bodyPr vert="horz" lIns="91440" tIns="45720" rIns="91440" bIns="45720" rtlCol="0" anchor="ctr">
            <a:normAutofit/>
          </a:bodyPr>
          <a:lstStyle/>
          <a:p>
            <a:r>
              <a:rPr lang="zh-CN" altLang="en-US" dirty="0"/>
              <a:t>单击此处编辑母版标题样式</a:t>
            </a:r>
            <a:endParaRPr lang="zh-CN" altLang="en-US" dirty="0"/>
          </a:p>
        </p:txBody>
      </p:sp>
      <p:sp>
        <p:nvSpPr>
          <p:cNvPr id="3" name="文本占位符 2"/>
          <p:cNvSpPr>
            <a:spLocks noGrp="1"/>
          </p:cNvSpPr>
          <p:nvPr>
            <p:ph type="body" idx="1"/>
          </p:nvPr>
        </p:nvSpPr>
        <p:spPr>
          <a:xfrm>
            <a:off x="838200" y="1456266"/>
            <a:ext cx="10515600" cy="4699733"/>
          </a:xfrm>
          <a:prstGeom prst="rect">
            <a:avLst/>
          </a:prstGeom>
        </p:spPr>
        <p:txBody>
          <a:bodyPr vert="horz" lIns="91440" tIns="45720" rIns="91440" bIns="45720" rtlCol="0">
            <a:normAutofit/>
          </a:body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solidFill>
              </a:defRPr>
            </a:lvl1pPr>
          </a:lstStyle>
          <a:p>
            <a:fld id="{2FF2E821-025F-4B15-A27C-65B12F3A2CA3}" type="datetimeFigureOut">
              <a:rPr lang="zh-CN" altLang="en-US" smtClean="0"/>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solidFill>
              </a:defRPr>
            </a:lvl1pPr>
          </a:lstStyle>
          <a:p>
            <a:fld id="{BFEDD757-FC75-4840-AABC-5FEC07B4A531}" type="slidenum">
              <a:rPr lang="zh-CN" altLang="en-US" smtClean="0"/>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ransition spd="slow" advClick="0" advTm="3000">
    <p:randomBar dir="vert"/>
  </p:transition>
  <p:txStyles>
    <p:titleStyle>
      <a:lvl1pPr algn="l" defTabSz="914400" rtl="0" eaLnBrk="1" latinLnBrk="0" hangingPunct="1">
        <a:lnSpc>
          <a:spcPct val="90000"/>
        </a:lnSpc>
        <a:spcBef>
          <a:spcPct val="0"/>
        </a:spcBef>
        <a:buNone/>
        <a:defRPr sz="3200" b="1" kern="1200">
          <a:solidFill>
            <a:schemeClr val="accent1"/>
          </a:solidFill>
          <a:latin typeface="+mj-lt"/>
          <a:ea typeface="+mj-ea"/>
          <a:cs typeface="+mj-cs"/>
        </a:defRPr>
      </a:lvl1pPr>
    </p:titleStyle>
    <p:bodyStyle>
      <a:lvl1pPr marL="228600" indent="-228600" algn="l" defTabSz="914400" rtl="0" eaLnBrk="1" latinLnBrk="0" hangingPunct="1">
        <a:lnSpc>
          <a:spcPct val="12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12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12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12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12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image" Target="../media/image4.png"/></Relationships>
</file>

<file path=ppt/slides/_rels/slide10.xml.rels><?xml version="1.0" encoding="UTF-8" standalone="yes"?>
<Relationships xmlns="http://schemas.openxmlformats.org/package/2006/relationships"><Relationship Id="rId9" Type="http://schemas.openxmlformats.org/officeDocument/2006/relationships/notesSlide" Target="../notesSlides/notesSlide10.xml"/><Relationship Id="rId8" Type="http://schemas.openxmlformats.org/officeDocument/2006/relationships/slideLayout" Target="../slideLayouts/slideLayout6.xml"/><Relationship Id="rId7" Type="http://schemas.openxmlformats.org/officeDocument/2006/relationships/tags" Target="../tags/tag47.xml"/><Relationship Id="rId6" Type="http://schemas.openxmlformats.org/officeDocument/2006/relationships/image" Target="../media/image8.png"/><Relationship Id="rId5" Type="http://schemas.openxmlformats.org/officeDocument/2006/relationships/tags" Target="../tags/tag46.xml"/><Relationship Id="rId4" Type="http://schemas.openxmlformats.org/officeDocument/2006/relationships/tags" Target="../tags/tag45.xml"/><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tags" Target="../tags/tag42.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3.xml"/><Relationship Id="rId1" Type="http://schemas.openxmlformats.org/officeDocument/2006/relationships/image" Target="../media/image4.png"/></Relationships>
</file>

<file path=ppt/slides/_rels/slide12.xml.rels><?xml version="1.0" encoding="UTF-8" standalone="yes"?>
<Relationships xmlns="http://schemas.openxmlformats.org/package/2006/relationships"><Relationship Id="rId9" Type="http://schemas.openxmlformats.org/officeDocument/2006/relationships/notesSlide" Target="../notesSlides/notesSlide12.xml"/><Relationship Id="rId8" Type="http://schemas.openxmlformats.org/officeDocument/2006/relationships/slideLayout" Target="../slideLayouts/slideLayout6.xml"/><Relationship Id="rId7" Type="http://schemas.openxmlformats.org/officeDocument/2006/relationships/tags" Target="../tags/tag53.xml"/><Relationship Id="rId6" Type="http://schemas.openxmlformats.org/officeDocument/2006/relationships/image" Target="../media/image9.png"/><Relationship Id="rId5" Type="http://schemas.openxmlformats.org/officeDocument/2006/relationships/tags" Target="../tags/tag52.xml"/><Relationship Id="rId4" Type="http://schemas.openxmlformats.org/officeDocument/2006/relationships/tags" Target="../tags/tag51.xml"/><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tags" Target="../tags/tag48.xml"/></Relationships>
</file>

<file path=ppt/slides/_rels/slide13.xml.rels><?xml version="1.0" encoding="UTF-8" standalone="yes"?>
<Relationships xmlns="http://schemas.openxmlformats.org/package/2006/relationships"><Relationship Id="rId8" Type="http://schemas.openxmlformats.org/officeDocument/2006/relationships/notesSlide" Target="../notesSlides/notesSlide13.xml"/><Relationship Id="rId7" Type="http://schemas.openxmlformats.org/officeDocument/2006/relationships/slideLayout" Target="../slideLayouts/slideLayout6.xml"/><Relationship Id="rId6" Type="http://schemas.openxmlformats.org/officeDocument/2006/relationships/tags" Target="../tags/tag59.xml"/><Relationship Id="rId5" Type="http://schemas.openxmlformats.org/officeDocument/2006/relationships/tags" Target="../tags/tag58.xml"/><Relationship Id="rId4" Type="http://schemas.openxmlformats.org/officeDocument/2006/relationships/tags" Target="../tags/tag57.xml"/><Relationship Id="rId3" Type="http://schemas.openxmlformats.org/officeDocument/2006/relationships/tags" Target="../tags/tag56.xml"/><Relationship Id="rId2" Type="http://schemas.openxmlformats.org/officeDocument/2006/relationships/tags" Target="../tags/tag55.xml"/><Relationship Id="rId1" Type="http://schemas.openxmlformats.org/officeDocument/2006/relationships/tags" Target="../tags/tag54.xml"/></Relationships>
</file>

<file path=ppt/slides/_rels/slide14.xml.rels><?xml version="1.0" encoding="UTF-8" standalone="yes"?>
<Relationships xmlns="http://schemas.openxmlformats.org/package/2006/relationships"><Relationship Id="rId9" Type="http://schemas.openxmlformats.org/officeDocument/2006/relationships/notesSlide" Target="../notesSlides/notesSlide14.xml"/><Relationship Id="rId8" Type="http://schemas.openxmlformats.org/officeDocument/2006/relationships/slideLayout" Target="../slideLayouts/slideLayout6.xml"/><Relationship Id="rId7" Type="http://schemas.openxmlformats.org/officeDocument/2006/relationships/tags" Target="../tags/tag65.xml"/><Relationship Id="rId6" Type="http://schemas.openxmlformats.org/officeDocument/2006/relationships/image" Target="../media/image10.png"/><Relationship Id="rId5" Type="http://schemas.openxmlformats.org/officeDocument/2006/relationships/tags" Target="../tags/tag64.xml"/><Relationship Id="rId4" Type="http://schemas.openxmlformats.org/officeDocument/2006/relationships/tags" Target="../tags/tag63.xml"/><Relationship Id="rId3" Type="http://schemas.openxmlformats.org/officeDocument/2006/relationships/tags" Target="../tags/tag62.xml"/><Relationship Id="rId2" Type="http://schemas.openxmlformats.org/officeDocument/2006/relationships/tags" Target="../tags/tag61.xml"/><Relationship Id="rId1" Type="http://schemas.openxmlformats.org/officeDocument/2006/relationships/tags" Target="../tags/tag60.xml"/></Relationships>
</file>

<file path=ppt/slides/_rels/slide15.xml.rels><?xml version="1.0" encoding="UTF-8" standalone="yes"?>
<Relationships xmlns="http://schemas.openxmlformats.org/package/2006/relationships"><Relationship Id="rId9" Type="http://schemas.openxmlformats.org/officeDocument/2006/relationships/notesSlide" Target="../notesSlides/notesSlide15.xml"/><Relationship Id="rId8" Type="http://schemas.openxmlformats.org/officeDocument/2006/relationships/slideLayout" Target="../slideLayouts/slideLayout6.xml"/><Relationship Id="rId7" Type="http://schemas.openxmlformats.org/officeDocument/2006/relationships/tags" Target="../tags/tag71.xml"/><Relationship Id="rId6" Type="http://schemas.openxmlformats.org/officeDocument/2006/relationships/image" Target="../media/image11.png"/><Relationship Id="rId5" Type="http://schemas.openxmlformats.org/officeDocument/2006/relationships/tags" Target="../tags/tag70.xml"/><Relationship Id="rId4" Type="http://schemas.openxmlformats.org/officeDocument/2006/relationships/tags" Target="../tags/tag69.xml"/><Relationship Id="rId3" Type="http://schemas.openxmlformats.org/officeDocument/2006/relationships/tags" Target="../tags/tag68.xml"/><Relationship Id="rId2" Type="http://schemas.openxmlformats.org/officeDocument/2006/relationships/tags" Target="../tags/tag67.xml"/><Relationship Id="rId1" Type="http://schemas.openxmlformats.org/officeDocument/2006/relationships/tags" Target="../tags/tag66.xml"/></Relationships>
</file>

<file path=ppt/slides/_rels/slide16.xml.rels><?xml version="1.0" encoding="UTF-8" standalone="yes"?>
<Relationships xmlns="http://schemas.openxmlformats.org/package/2006/relationships"><Relationship Id="rId8" Type="http://schemas.openxmlformats.org/officeDocument/2006/relationships/notesSlide" Target="../notesSlides/notesSlide16.xml"/><Relationship Id="rId7" Type="http://schemas.openxmlformats.org/officeDocument/2006/relationships/slideLayout" Target="../slideLayouts/slideLayout6.xml"/><Relationship Id="rId6" Type="http://schemas.openxmlformats.org/officeDocument/2006/relationships/tags" Target="../tags/tag77.xml"/><Relationship Id="rId5" Type="http://schemas.openxmlformats.org/officeDocument/2006/relationships/tags" Target="../tags/tag76.xml"/><Relationship Id="rId4" Type="http://schemas.openxmlformats.org/officeDocument/2006/relationships/tags" Target="../tags/tag75.xml"/><Relationship Id="rId3" Type="http://schemas.openxmlformats.org/officeDocument/2006/relationships/tags" Target="../tags/tag74.xml"/><Relationship Id="rId2" Type="http://schemas.openxmlformats.org/officeDocument/2006/relationships/tags" Target="../tags/tag73.xml"/><Relationship Id="rId1" Type="http://schemas.openxmlformats.org/officeDocument/2006/relationships/tags" Target="../tags/tag72.xml"/></Relationships>
</file>

<file path=ppt/slides/_rels/slide17.xml.rels><?xml version="1.0" encoding="UTF-8" standalone="yes"?>
<Relationships xmlns="http://schemas.openxmlformats.org/package/2006/relationships"><Relationship Id="rId9" Type="http://schemas.openxmlformats.org/officeDocument/2006/relationships/notesSlide" Target="../notesSlides/notesSlide17.xml"/><Relationship Id="rId8" Type="http://schemas.openxmlformats.org/officeDocument/2006/relationships/slideLayout" Target="../slideLayouts/slideLayout6.xml"/><Relationship Id="rId7" Type="http://schemas.openxmlformats.org/officeDocument/2006/relationships/tags" Target="../tags/tag83.xml"/><Relationship Id="rId6" Type="http://schemas.openxmlformats.org/officeDocument/2006/relationships/image" Target="../media/image12.png"/><Relationship Id="rId5" Type="http://schemas.openxmlformats.org/officeDocument/2006/relationships/tags" Target="../tags/tag82.xml"/><Relationship Id="rId4" Type="http://schemas.openxmlformats.org/officeDocument/2006/relationships/tags" Target="../tags/tag81.xml"/><Relationship Id="rId3" Type="http://schemas.openxmlformats.org/officeDocument/2006/relationships/tags" Target="../tags/tag80.xml"/><Relationship Id="rId2" Type="http://schemas.openxmlformats.org/officeDocument/2006/relationships/tags" Target="../tags/tag79.xml"/><Relationship Id="rId1" Type="http://schemas.openxmlformats.org/officeDocument/2006/relationships/tags" Target="../tags/tag78.xml"/></Relationships>
</file>

<file path=ppt/slides/_rels/slide18.xml.rels><?xml version="1.0" encoding="UTF-8" standalone="yes"?>
<Relationships xmlns="http://schemas.openxmlformats.org/package/2006/relationships"><Relationship Id="rId9" Type="http://schemas.openxmlformats.org/officeDocument/2006/relationships/notesSlide" Target="../notesSlides/notesSlide18.xml"/><Relationship Id="rId8" Type="http://schemas.openxmlformats.org/officeDocument/2006/relationships/slideLayout" Target="../slideLayouts/slideLayout6.xml"/><Relationship Id="rId7" Type="http://schemas.openxmlformats.org/officeDocument/2006/relationships/tags" Target="../tags/tag89.xml"/><Relationship Id="rId6" Type="http://schemas.openxmlformats.org/officeDocument/2006/relationships/image" Target="../media/image13.png"/><Relationship Id="rId5" Type="http://schemas.openxmlformats.org/officeDocument/2006/relationships/tags" Target="../tags/tag88.xml"/><Relationship Id="rId4" Type="http://schemas.openxmlformats.org/officeDocument/2006/relationships/tags" Target="../tags/tag87.xml"/><Relationship Id="rId3" Type="http://schemas.openxmlformats.org/officeDocument/2006/relationships/tags" Target="../tags/tag86.xml"/><Relationship Id="rId2" Type="http://schemas.openxmlformats.org/officeDocument/2006/relationships/tags" Target="../tags/tag85.xml"/><Relationship Id="rId1" Type="http://schemas.openxmlformats.org/officeDocument/2006/relationships/tags" Target="../tags/tag84.xml"/></Relationships>
</file>

<file path=ppt/slides/_rels/slide19.xml.rels><?xml version="1.0" encoding="UTF-8" standalone="yes"?>
<Relationships xmlns="http://schemas.openxmlformats.org/package/2006/relationships"><Relationship Id="rId8" Type="http://schemas.openxmlformats.org/officeDocument/2006/relationships/notesSlide" Target="../notesSlides/notesSlide19.xml"/><Relationship Id="rId7" Type="http://schemas.openxmlformats.org/officeDocument/2006/relationships/slideLayout" Target="../slideLayouts/slideLayout6.xml"/><Relationship Id="rId6" Type="http://schemas.openxmlformats.org/officeDocument/2006/relationships/tags" Target="../tags/tag95.xml"/><Relationship Id="rId5" Type="http://schemas.openxmlformats.org/officeDocument/2006/relationships/tags" Target="../tags/tag94.xml"/><Relationship Id="rId4" Type="http://schemas.openxmlformats.org/officeDocument/2006/relationships/tags" Target="../tags/tag93.xml"/><Relationship Id="rId3" Type="http://schemas.openxmlformats.org/officeDocument/2006/relationships/tags" Target="../tags/tag92.xml"/><Relationship Id="rId2" Type="http://schemas.openxmlformats.org/officeDocument/2006/relationships/tags" Target="../tags/tag91.xml"/><Relationship Id="rId1" Type="http://schemas.openxmlformats.org/officeDocument/2006/relationships/tags" Target="../tags/tag90.xml"/></Relationships>
</file>

<file path=ppt/slides/_rels/slide2.xml.rels><?xml version="1.0" encoding="UTF-8" standalone="yes"?>
<Relationships xmlns="http://schemas.openxmlformats.org/package/2006/relationships"><Relationship Id="rId8" Type="http://schemas.openxmlformats.org/officeDocument/2006/relationships/notesSlide" Target="../notesSlides/notesSlide2.xml"/><Relationship Id="rId7" Type="http://schemas.openxmlformats.org/officeDocument/2006/relationships/slideLayout" Target="../slideLayouts/slideLayout6.xml"/><Relationship Id="rId6" Type="http://schemas.openxmlformats.org/officeDocument/2006/relationships/tags" Target="../tags/tag5.xml"/><Relationship Id="rId5" Type="http://schemas.openxmlformats.org/officeDocument/2006/relationships/tags" Target="../tags/tag4.xml"/><Relationship Id="rId4" Type="http://schemas.openxmlformats.org/officeDocument/2006/relationships/tags" Target="../tags/tag3.xml"/><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image" Target="../media/image4.png"/></Relationships>
</file>

<file path=ppt/slides/_rels/slide20.xml.rels><?xml version="1.0" encoding="UTF-8" standalone="yes"?>
<Relationships xmlns="http://schemas.openxmlformats.org/package/2006/relationships"><Relationship Id="rId9" Type="http://schemas.openxmlformats.org/officeDocument/2006/relationships/slideLayout" Target="../slideLayouts/slideLayout6.xml"/><Relationship Id="rId8" Type="http://schemas.openxmlformats.org/officeDocument/2006/relationships/tags" Target="../tags/tag101.xml"/><Relationship Id="rId7" Type="http://schemas.openxmlformats.org/officeDocument/2006/relationships/image" Target="../media/image15.png"/><Relationship Id="rId6" Type="http://schemas.openxmlformats.org/officeDocument/2006/relationships/image" Target="../media/image14.png"/><Relationship Id="rId5" Type="http://schemas.openxmlformats.org/officeDocument/2006/relationships/tags" Target="../tags/tag100.xml"/><Relationship Id="rId4" Type="http://schemas.openxmlformats.org/officeDocument/2006/relationships/tags" Target="../tags/tag99.xml"/><Relationship Id="rId3" Type="http://schemas.openxmlformats.org/officeDocument/2006/relationships/tags" Target="../tags/tag98.xml"/><Relationship Id="rId2" Type="http://schemas.openxmlformats.org/officeDocument/2006/relationships/tags" Target="../tags/tag97.xml"/><Relationship Id="rId10" Type="http://schemas.openxmlformats.org/officeDocument/2006/relationships/notesSlide" Target="../notesSlides/notesSlide20.xml"/><Relationship Id="rId1" Type="http://schemas.openxmlformats.org/officeDocument/2006/relationships/tags" Target="../tags/tag96.xml"/></Relationships>
</file>

<file path=ppt/slides/_rels/slide21.xml.rels><?xml version="1.0" encoding="UTF-8" standalone="yes"?>
<Relationships xmlns="http://schemas.openxmlformats.org/package/2006/relationships"><Relationship Id="rId9" Type="http://schemas.openxmlformats.org/officeDocument/2006/relationships/slideLayout" Target="../slideLayouts/slideLayout6.xml"/><Relationship Id="rId8" Type="http://schemas.openxmlformats.org/officeDocument/2006/relationships/tags" Target="../tags/tag107.xml"/><Relationship Id="rId7" Type="http://schemas.openxmlformats.org/officeDocument/2006/relationships/image" Target="../media/image17.png"/><Relationship Id="rId6" Type="http://schemas.openxmlformats.org/officeDocument/2006/relationships/image" Target="../media/image16.png"/><Relationship Id="rId5" Type="http://schemas.openxmlformats.org/officeDocument/2006/relationships/tags" Target="../tags/tag106.xml"/><Relationship Id="rId4" Type="http://schemas.openxmlformats.org/officeDocument/2006/relationships/tags" Target="../tags/tag105.xml"/><Relationship Id="rId3" Type="http://schemas.openxmlformats.org/officeDocument/2006/relationships/tags" Target="../tags/tag104.xml"/><Relationship Id="rId2" Type="http://schemas.openxmlformats.org/officeDocument/2006/relationships/tags" Target="../tags/tag103.xml"/><Relationship Id="rId10" Type="http://schemas.openxmlformats.org/officeDocument/2006/relationships/notesSlide" Target="../notesSlides/notesSlide21.xml"/><Relationship Id="rId1" Type="http://schemas.openxmlformats.org/officeDocument/2006/relationships/tags" Target="../tags/tag102.xml"/></Relationships>
</file>

<file path=ppt/slides/_rels/slide22.xml.rels><?xml version="1.0" encoding="UTF-8" standalone="yes"?>
<Relationships xmlns="http://schemas.openxmlformats.org/package/2006/relationships"><Relationship Id="rId9" Type="http://schemas.openxmlformats.org/officeDocument/2006/relationships/notesSlide" Target="../notesSlides/notesSlide22.xml"/><Relationship Id="rId8" Type="http://schemas.openxmlformats.org/officeDocument/2006/relationships/slideLayout" Target="../slideLayouts/slideLayout6.xml"/><Relationship Id="rId7" Type="http://schemas.openxmlformats.org/officeDocument/2006/relationships/tags" Target="../tags/tag113.xml"/><Relationship Id="rId6" Type="http://schemas.openxmlformats.org/officeDocument/2006/relationships/image" Target="../media/image18.png"/><Relationship Id="rId5" Type="http://schemas.openxmlformats.org/officeDocument/2006/relationships/tags" Target="../tags/tag112.xml"/><Relationship Id="rId4" Type="http://schemas.openxmlformats.org/officeDocument/2006/relationships/tags" Target="../tags/tag111.xml"/><Relationship Id="rId3" Type="http://schemas.openxmlformats.org/officeDocument/2006/relationships/tags" Target="../tags/tag110.xml"/><Relationship Id="rId2" Type="http://schemas.openxmlformats.org/officeDocument/2006/relationships/tags" Target="../tags/tag109.xml"/><Relationship Id="rId1" Type="http://schemas.openxmlformats.org/officeDocument/2006/relationships/tags" Target="../tags/tag108.xml"/></Relationships>
</file>

<file path=ppt/slides/_rels/slide23.xml.rels><?xml version="1.0" encoding="UTF-8" standalone="yes"?>
<Relationships xmlns="http://schemas.openxmlformats.org/package/2006/relationships"><Relationship Id="rId9" Type="http://schemas.openxmlformats.org/officeDocument/2006/relationships/notesSlide" Target="../notesSlides/notesSlide23.xml"/><Relationship Id="rId8" Type="http://schemas.openxmlformats.org/officeDocument/2006/relationships/slideLayout" Target="../slideLayouts/slideLayout6.xml"/><Relationship Id="rId7" Type="http://schemas.openxmlformats.org/officeDocument/2006/relationships/tags" Target="../tags/tag119.xml"/><Relationship Id="rId6" Type="http://schemas.openxmlformats.org/officeDocument/2006/relationships/image" Target="../media/image19.png"/><Relationship Id="rId5" Type="http://schemas.openxmlformats.org/officeDocument/2006/relationships/tags" Target="../tags/tag118.xml"/><Relationship Id="rId4" Type="http://schemas.openxmlformats.org/officeDocument/2006/relationships/tags" Target="../tags/tag117.xml"/><Relationship Id="rId3" Type="http://schemas.openxmlformats.org/officeDocument/2006/relationships/tags" Target="../tags/tag116.xml"/><Relationship Id="rId2" Type="http://schemas.openxmlformats.org/officeDocument/2006/relationships/tags" Target="../tags/tag115.xml"/><Relationship Id="rId1" Type="http://schemas.openxmlformats.org/officeDocument/2006/relationships/tags" Target="../tags/tag114.xml"/></Relationships>
</file>

<file path=ppt/slides/_rels/slide24.xml.rels><?xml version="1.0" encoding="UTF-8" standalone="yes"?>
<Relationships xmlns="http://schemas.openxmlformats.org/package/2006/relationships"><Relationship Id="rId9" Type="http://schemas.openxmlformats.org/officeDocument/2006/relationships/notesSlide" Target="../notesSlides/notesSlide24.xml"/><Relationship Id="rId8" Type="http://schemas.openxmlformats.org/officeDocument/2006/relationships/slideLayout" Target="../slideLayouts/slideLayout6.xml"/><Relationship Id="rId7" Type="http://schemas.openxmlformats.org/officeDocument/2006/relationships/tags" Target="../tags/tag125.xml"/><Relationship Id="rId6" Type="http://schemas.openxmlformats.org/officeDocument/2006/relationships/image" Target="../media/image20.png"/><Relationship Id="rId5" Type="http://schemas.openxmlformats.org/officeDocument/2006/relationships/tags" Target="../tags/tag124.xml"/><Relationship Id="rId4" Type="http://schemas.openxmlformats.org/officeDocument/2006/relationships/tags" Target="../tags/tag123.xml"/><Relationship Id="rId3" Type="http://schemas.openxmlformats.org/officeDocument/2006/relationships/tags" Target="../tags/tag122.xml"/><Relationship Id="rId2" Type="http://schemas.openxmlformats.org/officeDocument/2006/relationships/tags" Target="../tags/tag121.xml"/><Relationship Id="rId1" Type="http://schemas.openxmlformats.org/officeDocument/2006/relationships/tags" Target="../tags/tag120.xml"/></Relationships>
</file>

<file path=ppt/slides/_rels/slide25.xml.rels><?xml version="1.0" encoding="UTF-8" standalone="yes"?>
<Relationships xmlns="http://schemas.openxmlformats.org/package/2006/relationships"><Relationship Id="rId8" Type="http://schemas.openxmlformats.org/officeDocument/2006/relationships/notesSlide" Target="../notesSlides/notesSlide25.xml"/><Relationship Id="rId7" Type="http://schemas.openxmlformats.org/officeDocument/2006/relationships/slideLayout" Target="../slideLayouts/slideLayout6.xml"/><Relationship Id="rId6" Type="http://schemas.openxmlformats.org/officeDocument/2006/relationships/tags" Target="../tags/tag131.xml"/><Relationship Id="rId5" Type="http://schemas.openxmlformats.org/officeDocument/2006/relationships/tags" Target="../tags/tag130.xml"/><Relationship Id="rId4" Type="http://schemas.openxmlformats.org/officeDocument/2006/relationships/tags" Target="../tags/tag129.xml"/><Relationship Id="rId3" Type="http://schemas.openxmlformats.org/officeDocument/2006/relationships/tags" Target="../tags/tag128.xml"/><Relationship Id="rId2" Type="http://schemas.openxmlformats.org/officeDocument/2006/relationships/tags" Target="../tags/tag127.xml"/><Relationship Id="rId1" Type="http://schemas.openxmlformats.org/officeDocument/2006/relationships/tags" Target="../tags/tag126.xml"/></Relationships>
</file>

<file path=ppt/slides/_rels/slide26.xml.rels><?xml version="1.0" encoding="UTF-8" standalone="yes"?>
<Relationships xmlns="http://schemas.openxmlformats.org/package/2006/relationships"><Relationship Id="rId9" Type="http://schemas.openxmlformats.org/officeDocument/2006/relationships/notesSlide" Target="../notesSlides/notesSlide26.xml"/><Relationship Id="rId8" Type="http://schemas.openxmlformats.org/officeDocument/2006/relationships/slideLayout" Target="../slideLayouts/slideLayout6.xml"/><Relationship Id="rId7" Type="http://schemas.openxmlformats.org/officeDocument/2006/relationships/tags" Target="../tags/tag137.xml"/><Relationship Id="rId6" Type="http://schemas.openxmlformats.org/officeDocument/2006/relationships/image" Target="../media/image21.png"/><Relationship Id="rId5" Type="http://schemas.openxmlformats.org/officeDocument/2006/relationships/tags" Target="../tags/tag136.xml"/><Relationship Id="rId4" Type="http://schemas.openxmlformats.org/officeDocument/2006/relationships/tags" Target="../tags/tag135.xml"/><Relationship Id="rId3" Type="http://schemas.openxmlformats.org/officeDocument/2006/relationships/tags" Target="../tags/tag134.xml"/><Relationship Id="rId2" Type="http://schemas.openxmlformats.org/officeDocument/2006/relationships/tags" Target="../tags/tag133.xml"/><Relationship Id="rId1" Type="http://schemas.openxmlformats.org/officeDocument/2006/relationships/tags" Target="../tags/tag13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9" Type="http://schemas.openxmlformats.org/officeDocument/2006/relationships/tags" Target="../tags/tag145.xml"/><Relationship Id="rId8" Type="http://schemas.openxmlformats.org/officeDocument/2006/relationships/tags" Target="../tags/tag144.xml"/><Relationship Id="rId7" Type="http://schemas.openxmlformats.org/officeDocument/2006/relationships/image" Target="../media/image4.png"/><Relationship Id="rId6" Type="http://schemas.openxmlformats.org/officeDocument/2006/relationships/tags" Target="../tags/tag143.xml"/><Relationship Id="rId5" Type="http://schemas.openxmlformats.org/officeDocument/2006/relationships/tags" Target="../tags/tag142.xml"/><Relationship Id="rId4" Type="http://schemas.openxmlformats.org/officeDocument/2006/relationships/tags" Target="../tags/tag141.xml"/><Relationship Id="rId3" Type="http://schemas.openxmlformats.org/officeDocument/2006/relationships/tags" Target="../tags/tag140.xml"/><Relationship Id="rId2" Type="http://schemas.openxmlformats.org/officeDocument/2006/relationships/tags" Target="../tags/tag139.xml"/><Relationship Id="rId11" Type="http://schemas.openxmlformats.org/officeDocument/2006/relationships/notesSlide" Target="../notesSlides/notesSlide28.xml"/><Relationship Id="rId10" Type="http://schemas.openxmlformats.org/officeDocument/2006/relationships/slideLayout" Target="../slideLayouts/slideLayout6.xml"/><Relationship Id="rId1" Type="http://schemas.openxmlformats.org/officeDocument/2006/relationships/tags" Target="../tags/tag138.xml"/></Relationships>
</file>

<file path=ppt/slides/_rels/slide29.xml.rels><?xml version="1.0" encoding="UTF-8" standalone="yes"?>
<Relationships xmlns="http://schemas.openxmlformats.org/package/2006/relationships"><Relationship Id="rId4" Type="http://schemas.openxmlformats.org/officeDocument/2006/relationships/notesSlide" Target="../notesSlides/notesSlide29.xml"/><Relationship Id="rId3" Type="http://schemas.openxmlformats.org/officeDocument/2006/relationships/slideLayout" Target="../slideLayouts/slideLayout7.xml"/><Relationship Id="rId2" Type="http://schemas.openxmlformats.org/officeDocument/2006/relationships/image" Target="../media/image4.png"/><Relationship Id="rId1" Type="http://schemas.openxmlformats.org/officeDocument/2006/relationships/image" Target="../media/image2.emf"/></Relationships>
</file>

<file path=ppt/slides/_rels/slide3.xml.rels><?xml version="1.0" encoding="UTF-8" standalone="yes"?>
<Relationships xmlns="http://schemas.openxmlformats.org/package/2006/relationships"><Relationship Id="rId4" Type="http://schemas.openxmlformats.org/officeDocument/2006/relationships/notesSlide" Target="../notesSlides/notesSlide3.xml"/><Relationship Id="rId3" Type="http://schemas.openxmlformats.org/officeDocument/2006/relationships/slideLayout" Target="../slideLayouts/slideLayout2.xml"/><Relationship Id="rId2" Type="http://schemas.openxmlformats.org/officeDocument/2006/relationships/image" Target="../media/image4.png"/><Relationship Id="rId1" Type="http://schemas.openxmlformats.org/officeDocument/2006/relationships/image" Target="../media/image1.emf"/></Relationships>
</file>

<file path=ppt/slides/_rels/slide4.xml.rels><?xml version="1.0" encoding="UTF-8" standalone="yes"?>
<Relationships xmlns="http://schemas.openxmlformats.org/package/2006/relationships"><Relationship Id="rId8" Type="http://schemas.openxmlformats.org/officeDocument/2006/relationships/notesSlide" Target="../notesSlides/notesSlide4.xml"/><Relationship Id="rId7" Type="http://schemas.openxmlformats.org/officeDocument/2006/relationships/slideLayout" Target="../slideLayouts/slideLayout6.xml"/><Relationship Id="rId6" Type="http://schemas.openxmlformats.org/officeDocument/2006/relationships/tags" Target="../tags/tag11.xml"/><Relationship Id="rId5" Type="http://schemas.openxmlformats.org/officeDocument/2006/relationships/tags" Target="../tags/tag10.xml"/><Relationship Id="rId4" Type="http://schemas.openxmlformats.org/officeDocument/2006/relationships/tags" Target="../tags/tag9.xml"/><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tags" Target="../tags/tag6.xml"/></Relationships>
</file>

<file path=ppt/slides/_rels/slide5.xml.rels><?xml version="1.0" encoding="UTF-8" standalone="yes"?>
<Relationships xmlns="http://schemas.openxmlformats.org/package/2006/relationships"><Relationship Id="rId8" Type="http://schemas.openxmlformats.org/officeDocument/2006/relationships/notesSlide" Target="../notesSlides/notesSlide5.xml"/><Relationship Id="rId7" Type="http://schemas.openxmlformats.org/officeDocument/2006/relationships/slideLayout" Target="../slideLayouts/slideLayout6.xml"/><Relationship Id="rId6" Type="http://schemas.openxmlformats.org/officeDocument/2006/relationships/tags" Target="../tags/tag17.xml"/><Relationship Id="rId5" Type="http://schemas.openxmlformats.org/officeDocument/2006/relationships/tags" Target="../tags/tag16.xml"/><Relationship Id="rId4" Type="http://schemas.openxmlformats.org/officeDocument/2006/relationships/tags" Target="../tags/tag15.xml"/><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tags" Target="../tags/tag12.xml"/></Relationships>
</file>

<file path=ppt/slides/_rels/slide6.xml.rels><?xml version="1.0" encoding="UTF-8" standalone="yes"?>
<Relationships xmlns="http://schemas.openxmlformats.org/package/2006/relationships"><Relationship Id="rId8" Type="http://schemas.openxmlformats.org/officeDocument/2006/relationships/notesSlide" Target="../notesSlides/notesSlide6.xml"/><Relationship Id="rId7" Type="http://schemas.openxmlformats.org/officeDocument/2006/relationships/slideLayout" Target="../slideLayouts/slideLayout6.xml"/><Relationship Id="rId6" Type="http://schemas.openxmlformats.org/officeDocument/2006/relationships/tags" Target="../tags/tag23.xml"/><Relationship Id="rId5" Type="http://schemas.openxmlformats.org/officeDocument/2006/relationships/tags" Target="../tags/tag22.xml"/><Relationship Id="rId4" Type="http://schemas.openxmlformats.org/officeDocument/2006/relationships/tags" Target="../tags/tag21.xml"/><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tags" Target="../tags/tag18.xml"/></Relationships>
</file>

<file path=ppt/slides/_rels/slide7.xml.rels><?xml version="1.0" encoding="UTF-8" standalone="yes"?>
<Relationships xmlns="http://schemas.openxmlformats.org/package/2006/relationships"><Relationship Id="rId9" Type="http://schemas.openxmlformats.org/officeDocument/2006/relationships/notesSlide" Target="../notesSlides/notesSlide7.xml"/><Relationship Id="rId8" Type="http://schemas.openxmlformats.org/officeDocument/2006/relationships/slideLayout" Target="../slideLayouts/slideLayout6.xml"/><Relationship Id="rId7" Type="http://schemas.openxmlformats.org/officeDocument/2006/relationships/tags" Target="../tags/tag29.xml"/><Relationship Id="rId6" Type="http://schemas.openxmlformats.org/officeDocument/2006/relationships/image" Target="../media/image5.png"/><Relationship Id="rId5" Type="http://schemas.openxmlformats.org/officeDocument/2006/relationships/tags" Target="../tags/tag28.xml"/><Relationship Id="rId4" Type="http://schemas.openxmlformats.org/officeDocument/2006/relationships/tags" Target="../tags/tag27.xml"/><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tags" Target="../tags/tag24.xml"/></Relationships>
</file>

<file path=ppt/slides/_rels/slide8.xml.rels><?xml version="1.0" encoding="UTF-8" standalone="yes"?>
<Relationships xmlns="http://schemas.openxmlformats.org/package/2006/relationships"><Relationship Id="rId9" Type="http://schemas.openxmlformats.org/officeDocument/2006/relationships/notesSlide" Target="../notesSlides/notesSlide8.xml"/><Relationship Id="rId8" Type="http://schemas.openxmlformats.org/officeDocument/2006/relationships/slideLayout" Target="../slideLayouts/slideLayout6.xml"/><Relationship Id="rId7" Type="http://schemas.openxmlformats.org/officeDocument/2006/relationships/tags" Target="../tags/tag35.xml"/><Relationship Id="rId6" Type="http://schemas.openxmlformats.org/officeDocument/2006/relationships/image" Target="../media/image6.png"/><Relationship Id="rId5" Type="http://schemas.openxmlformats.org/officeDocument/2006/relationships/tags" Target="../tags/tag34.xml"/><Relationship Id="rId4" Type="http://schemas.openxmlformats.org/officeDocument/2006/relationships/tags" Target="../tags/tag33.xml"/><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tags" Target="../tags/tag30.xml"/></Relationships>
</file>

<file path=ppt/slides/_rels/slide9.xml.rels><?xml version="1.0" encoding="UTF-8" standalone="yes"?>
<Relationships xmlns="http://schemas.openxmlformats.org/package/2006/relationships"><Relationship Id="rId9" Type="http://schemas.openxmlformats.org/officeDocument/2006/relationships/notesSlide" Target="../notesSlides/notesSlide9.xml"/><Relationship Id="rId8" Type="http://schemas.openxmlformats.org/officeDocument/2006/relationships/slideLayout" Target="../slideLayouts/slideLayout6.xml"/><Relationship Id="rId7" Type="http://schemas.openxmlformats.org/officeDocument/2006/relationships/tags" Target="../tags/tag41.xml"/><Relationship Id="rId6" Type="http://schemas.openxmlformats.org/officeDocument/2006/relationships/image" Target="../media/image7.png"/><Relationship Id="rId5" Type="http://schemas.openxmlformats.org/officeDocument/2006/relationships/tags" Target="../tags/tag40.xml"/><Relationship Id="rId4" Type="http://schemas.openxmlformats.org/officeDocument/2006/relationships/tags" Target="../tags/tag39.xml"/><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tags" Target="../tags/tag3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a:xfrm>
            <a:off x="501254" y="1898016"/>
            <a:ext cx="5865255" cy="1786520"/>
          </a:xfrm>
        </p:spPr>
        <p:txBody>
          <a:bodyPr/>
          <a:lstStyle/>
          <a:p>
            <a:r>
              <a:rPr lang="en-US" altLang="zh-CN" dirty="0">
                <a:sym typeface="+mn-ea"/>
              </a:rPr>
              <a:t>Django</a:t>
            </a:r>
            <a:r>
              <a:rPr lang="zh-CN" altLang="en-US" dirty="0">
                <a:sym typeface="+mn-ea"/>
              </a:rPr>
              <a:t>框架</a:t>
            </a:r>
            <a:endParaRPr lang="zh-CN" altLang="en-US" dirty="0"/>
          </a:p>
        </p:txBody>
      </p:sp>
      <p:sp>
        <p:nvSpPr>
          <p:cNvPr id="3" name="副标题 2"/>
          <p:cNvSpPr>
            <a:spLocks noGrp="1"/>
          </p:cNvSpPr>
          <p:nvPr>
            <p:ph type="subTitle" idx="1"/>
          </p:nvPr>
        </p:nvSpPr>
        <p:spPr>
          <a:xfrm>
            <a:off x="211694" y="3996320"/>
            <a:ext cx="5865254" cy="441321"/>
          </a:xfrm>
        </p:spPr>
        <p:txBody>
          <a:bodyPr/>
          <a:lstStyle/>
          <a:p>
            <a:r>
              <a:rPr lang="zh-CN" altLang="en-US" dirty="0"/>
              <a:t>讲师：</a:t>
            </a:r>
            <a:r>
              <a:rPr lang="en-US" dirty="0"/>
              <a:t>feifei</a:t>
            </a:r>
            <a:endParaRPr lang="en-US" dirty="0"/>
          </a:p>
        </p:txBody>
      </p:sp>
      <p:pic>
        <p:nvPicPr>
          <p:cNvPr id="5" name="图片 4"/>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80262" y="6343311"/>
            <a:ext cx="1380565" cy="514787"/>
          </a:xfrm>
          <a:prstGeom prst="rect">
            <a:avLst/>
          </a:prstGeom>
        </p:spPr>
      </p:pic>
      <p:sp>
        <p:nvSpPr>
          <p:cNvPr id="6" name="文本框 5"/>
          <p:cNvSpPr txBox="1"/>
          <p:nvPr/>
        </p:nvSpPr>
        <p:spPr>
          <a:xfrm>
            <a:off x="4381323" y="6586104"/>
            <a:ext cx="7664278" cy="261610"/>
          </a:xfrm>
          <a:prstGeom prst="rect">
            <a:avLst/>
          </a:prstGeom>
          <a:noFill/>
        </p:spPr>
        <p:txBody>
          <a:bodyPr wrap="none" rtlCol="0">
            <a:spAutoFit/>
          </a:bodyPr>
          <a:lstStyle/>
          <a:p>
            <a:r>
              <a:rPr kumimoji="1" lang="zh-CN" altLang="en-US" sz="1100" dirty="0"/>
              <a:t>免责声明：如果本课程内有任何内容侵害了您的权益，请您及时联系我们    潭州教育全球教学服务中心热线：</a:t>
            </a:r>
            <a:r>
              <a:rPr kumimoji="1" lang="en-US" altLang="zh-CN" sz="1100" dirty="0"/>
              <a:t>4001567315</a:t>
            </a:r>
            <a:endParaRPr kumimoji="1" lang="zh-CN" altLang="en-US" sz="1100" dirty="0"/>
          </a:p>
        </p:txBody>
      </p:sp>
    </p:spTree>
  </p:cSld>
  <p:clrMapOvr>
    <a:masterClrMapping/>
  </p:clrMapOvr>
  <p:transition spd="slow" advClick="0" advTm="3000">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randombar(horizontal)">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MH_Title_1"/>
          <p:cNvSpPr/>
          <p:nvPr>
            <p:custDataLst>
              <p:tags r:id="rId1"/>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25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2"/>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Yu Gothic UI Semibold" panose="020B0700000000000000" charset="-128"/>
              <a:ea typeface="Yu Gothic UI Semibold" panose="020B0700000000000000" charset="-128"/>
            </a:endParaRPr>
          </a:p>
        </p:txBody>
      </p:sp>
      <p:sp>
        <p:nvSpPr>
          <p:cNvPr id="20" name="MH_Other_2"/>
          <p:cNvSpPr/>
          <p:nvPr>
            <p:custDataLst>
              <p:tags r:id="rId3"/>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Yu Gothic UI Semibold" panose="020B0700000000000000" charset="-128"/>
              <a:ea typeface="Yu Gothic UI Semibold" panose="020B0700000000000000" charset="-128"/>
            </a:endParaRPr>
          </a:p>
        </p:txBody>
      </p:sp>
      <p:sp>
        <p:nvSpPr>
          <p:cNvPr id="21" name="MH_Other_3"/>
          <p:cNvSpPr/>
          <p:nvPr>
            <p:custDataLst>
              <p:tags r:id="rId4"/>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Yu Gothic UI Semibold" panose="020B0700000000000000" charset="-128"/>
              <a:ea typeface="Yu Gothic UI Semibold" panose="020B0700000000000000" charset="-128"/>
            </a:endParaRPr>
          </a:p>
        </p:txBody>
      </p:sp>
      <p:sp>
        <p:nvSpPr>
          <p:cNvPr id="22" name="MH_Other_4"/>
          <p:cNvSpPr/>
          <p:nvPr>
            <p:custDataLst>
              <p:tags r:id="rId5"/>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Yu Gothic UI Semibold" panose="020B0700000000000000" charset="-128"/>
              <a:ea typeface="Yu Gothic UI Semibold" panose="020B0700000000000000" charset="-128"/>
            </a:endParaRPr>
          </a:p>
        </p:txBody>
      </p:sp>
      <p:sp>
        <p:nvSpPr>
          <p:cNvPr id="4" name="标题 3"/>
          <p:cNvSpPr>
            <a:spLocks noGrp="1"/>
          </p:cNvSpPr>
          <p:nvPr>
            <p:ph type="title"/>
          </p:nvPr>
        </p:nvSpPr>
        <p:spPr>
          <a:xfrm>
            <a:off x="580390" y="223871"/>
            <a:ext cx="11239500" cy="968375"/>
          </a:xfrm>
        </p:spPr>
        <p:txBody>
          <a:bodyPr/>
          <a:lstStyle/>
          <a:p>
            <a:r>
              <a:rPr lang="zh-CN" altLang="en-US" dirty="0"/>
              <a:t>注册中间件</a:t>
            </a:r>
            <a:r>
              <a:rPr lang="en-US" altLang="zh-CN" dirty="0"/>
              <a:t>:</a:t>
            </a:r>
            <a:endParaRPr lang="en-US" altLang="zh-CN" dirty="0"/>
          </a:p>
        </p:txBody>
      </p:sp>
      <p:sp>
        <p:nvSpPr>
          <p:cNvPr id="6" name="文本框 5"/>
          <p:cNvSpPr txBox="1"/>
          <p:nvPr/>
        </p:nvSpPr>
        <p:spPr>
          <a:xfrm>
            <a:off x="1711325" y="1345565"/>
            <a:ext cx="7153275" cy="368300"/>
          </a:xfrm>
          <a:prstGeom prst="rect">
            <a:avLst/>
          </a:prstGeom>
          <a:solidFill>
            <a:srgbClr val="E5AB74"/>
          </a:solidFill>
        </p:spPr>
        <p:txBody>
          <a:bodyPr wrap="square" rtlCol="0" anchor="t">
            <a:spAutoFit/>
          </a:bodyPr>
          <a:lstStyle/>
          <a:p>
            <a:r>
              <a:t>将类MyException</a:t>
            </a:r>
            <a:r>
              <a:rPr lang="zh-CN"/>
              <a:t>和</a:t>
            </a:r>
            <a:r>
              <a:rPr lang="en-US" altLang="zh-CN"/>
              <a:t>UserMiddleware</a:t>
            </a:r>
            <a:r>
              <a:t>注册到settings.py中间件中：</a:t>
            </a:r>
          </a:p>
        </p:txBody>
      </p:sp>
      <p:pic>
        <p:nvPicPr>
          <p:cNvPr id="2" name="图片 1"/>
          <p:cNvPicPr>
            <a:picLocks noChangeAspect="1"/>
          </p:cNvPicPr>
          <p:nvPr/>
        </p:nvPicPr>
        <p:blipFill>
          <a:blip r:embed="rId6"/>
          <a:stretch>
            <a:fillRect/>
          </a:stretch>
        </p:blipFill>
        <p:spPr>
          <a:xfrm>
            <a:off x="1711325" y="1713865"/>
            <a:ext cx="7153275" cy="3331845"/>
          </a:xfrm>
          <a:prstGeom prst="rect">
            <a:avLst/>
          </a:prstGeom>
        </p:spPr>
      </p:pic>
      <p:sp>
        <p:nvSpPr>
          <p:cNvPr id="5" name="剪去单角的矩形 4"/>
          <p:cNvSpPr/>
          <p:nvPr/>
        </p:nvSpPr>
        <p:spPr>
          <a:xfrm>
            <a:off x="1711325" y="5235575"/>
            <a:ext cx="7625080" cy="1120775"/>
          </a:xfrm>
          <a:prstGeom prst="snip1Rect">
            <a:avLst/>
          </a:prstGeom>
          <a:solidFill>
            <a:srgbClr val="3F536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altLang="zh-CN"/>
              <a:t>mysite</a:t>
            </a:r>
            <a:r>
              <a:rPr lang="zh-CN" altLang="en-US"/>
              <a:t>是项目名</a:t>
            </a:r>
            <a:r>
              <a:rPr lang="en-US" altLang="zh-CN"/>
              <a:t>,</a:t>
            </a:r>
            <a:r>
              <a:rPr lang="zh-CN" altLang="en-US"/>
              <a:t>先找到文件所在的位置</a:t>
            </a:r>
            <a:r>
              <a:rPr lang="en-US" altLang="zh-CN"/>
              <a:t>,</a:t>
            </a:r>
            <a:r>
              <a:rPr lang="zh-CN" altLang="en-US"/>
              <a:t>把自定义的中间件的类添加到</a:t>
            </a:r>
            <a:r>
              <a:rPr lang="en-US" altLang="zh-CN"/>
              <a:t>MIDLEWARE</a:t>
            </a:r>
            <a:r>
              <a:rPr lang="zh-CN" altLang="en-US"/>
              <a:t>的列表当中</a:t>
            </a:r>
            <a:r>
              <a:rPr lang="en-US" altLang="zh-CN"/>
              <a:t>.</a:t>
            </a:r>
            <a:endParaRPr lang="en-US" altLang="zh-CN"/>
          </a:p>
        </p:txBody>
      </p:sp>
    </p:spTree>
    <p:custDataLst>
      <p:tags r:id="rId7"/>
    </p:custDataLst>
  </p:cSld>
  <p:clrMapOvr>
    <a:masterClrMapping/>
  </p:clrMapOvr>
  <p:transition spd="slow" advClick="0" advTm="3000">
    <p:randomBar dir="vert"/>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99111" y="2294744"/>
            <a:ext cx="7162800" cy="1502910"/>
          </a:xfrm>
        </p:spPr>
        <p:txBody>
          <a:bodyPr>
            <a:normAutofit/>
          </a:bodyPr>
          <a:lstStyle/>
          <a:p>
            <a:r>
              <a:rPr lang="zh-CN" altLang="en-US" sz="4000" dirty="0">
                <a:latin typeface="+mn-ea"/>
                <a:ea typeface="+mn-ea"/>
              </a:rPr>
              <a:t>上下文处理器是个什么东西呢</a:t>
            </a:r>
            <a:r>
              <a:rPr lang="en-US" altLang="zh-CN" sz="4000" dirty="0">
                <a:latin typeface="+mn-ea"/>
                <a:ea typeface="+mn-ea"/>
              </a:rPr>
              <a:t>?</a:t>
            </a:r>
            <a:endParaRPr lang="en-US" altLang="zh-CN" sz="4000" dirty="0">
              <a:latin typeface="+mn-ea"/>
              <a:ea typeface="+mn-ea"/>
            </a:endParaRPr>
          </a:p>
        </p:txBody>
      </p:sp>
      <p:pic>
        <p:nvPicPr>
          <p:cNvPr id="5" name="图片 4"/>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80262" y="6343311"/>
            <a:ext cx="1380565" cy="514787"/>
          </a:xfrm>
          <a:prstGeom prst="rect">
            <a:avLst/>
          </a:prstGeom>
        </p:spPr>
      </p:pic>
    </p:spTree>
  </p:cSld>
  <p:clrMapOvr>
    <a:masterClrMapping/>
  </p:clrMapOvr>
  <p:transition spd="slow" advClick="0" advTm="3000">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randombar(horizontal)">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MH_Title_1"/>
          <p:cNvSpPr/>
          <p:nvPr>
            <p:custDataLst>
              <p:tags r:id="rId1"/>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25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2"/>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Yu Gothic UI Semibold" panose="020B0700000000000000" charset="-128"/>
              <a:ea typeface="Yu Gothic UI Semibold" panose="020B0700000000000000" charset="-128"/>
            </a:endParaRPr>
          </a:p>
        </p:txBody>
      </p:sp>
      <p:sp>
        <p:nvSpPr>
          <p:cNvPr id="20" name="MH_Other_2"/>
          <p:cNvSpPr/>
          <p:nvPr>
            <p:custDataLst>
              <p:tags r:id="rId3"/>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Yu Gothic UI Semibold" panose="020B0700000000000000" charset="-128"/>
              <a:ea typeface="Yu Gothic UI Semibold" panose="020B0700000000000000" charset="-128"/>
            </a:endParaRPr>
          </a:p>
        </p:txBody>
      </p:sp>
      <p:sp>
        <p:nvSpPr>
          <p:cNvPr id="21" name="MH_Other_3"/>
          <p:cNvSpPr/>
          <p:nvPr>
            <p:custDataLst>
              <p:tags r:id="rId4"/>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Yu Gothic UI Semibold" panose="020B0700000000000000" charset="-128"/>
              <a:ea typeface="Yu Gothic UI Semibold" panose="020B0700000000000000" charset="-128"/>
            </a:endParaRPr>
          </a:p>
        </p:txBody>
      </p:sp>
      <p:sp>
        <p:nvSpPr>
          <p:cNvPr id="22" name="MH_Other_4"/>
          <p:cNvSpPr/>
          <p:nvPr>
            <p:custDataLst>
              <p:tags r:id="rId5"/>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Yu Gothic UI Semibold" panose="020B0700000000000000" charset="-128"/>
              <a:ea typeface="Yu Gothic UI Semibold" panose="020B0700000000000000" charset="-128"/>
            </a:endParaRPr>
          </a:p>
        </p:txBody>
      </p:sp>
      <p:sp>
        <p:nvSpPr>
          <p:cNvPr id="4" name="标题 3"/>
          <p:cNvSpPr>
            <a:spLocks noGrp="1"/>
          </p:cNvSpPr>
          <p:nvPr>
            <p:ph type="title"/>
          </p:nvPr>
        </p:nvSpPr>
        <p:spPr>
          <a:xfrm>
            <a:off x="580390" y="223871"/>
            <a:ext cx="11239500" cy="968375"/>
          </a:xfrm>
        </p:spPr>
        <p:txBody>
          <a:bodyPr/>
          <a:lstStyle/>
          <a:p>
            <a:r>
              <a:rPr lang="zh-CN" altLang="en-US" dirty="0"/>
              <a:t>上下文处理器的引入</a:t>
            </a:r>
            <a:r>
              <a:rPr lang="en-US" altLang="zh-CN" dirty="0"/>
              <a:t>:</a:t>
            </a:r>
            <a:endParaRPr lang="en-US" altLang="zh-CN" dirty="0"/>
          </a:p>
        </p:txBody>
      </p:sp>
      <p:sp>
        <p:nvSpPr>
          <p:cNvPr id="2" name="剪去单角的矩形 1"/>
          <p:cNvSpPr/>
          <p:nvPr/>
        </p:nvSpPr>
        <p:spPr>
          <a:xfrm>
            <a:off x="1997075" y="1192530"/>
            <a:ext cx="6968490" cy="1524635"/>
          </a:xfrm>
          <a:prstGeom prst="snip1Rect">
            <a:avLst/>
          </a:prstGeom>
          <a:solidFill>
            <a:srgbClr val="E5AB7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zh-CN" altLang="en-US" b="1">
                <a:solidFill>
                  <a:schemeClr val="tx1"/>
                </a:solidFill>
              </a:rPr>
              <a:t>在模板中想要使用的变量是从视图函数中的</a:t>
            </a:r>
            <a:r>
              <a:rPr lang="en-US" altLang="zh-CN" b="1">
                <a:solidFill>
                  <a:schemeClr val="tx1"/>
                </a:solidFill>
              </a:rPr>
              <a:t>context</a:t>
            </a:r>
            <a:r>
              <a:rPr lang="zh-CN" altLang="en-US" b="1">
                <a:solidFill>
                  <a:schemeClr val="tx1"/>
                </a:solidFill>
              </a:rPr>
              <a:t>这个上下文的参数中传递进来的</a:t>
            </a:r>
            <a:r>
              <a:rPr lang="en-US" altLang="zh-CN" b="1">
                <a:solidFill>
                  <a:schemeClr val="tx1"/>
                </a:solidFill>
              </a:rPr>
              <a:t>,</a:t>
            </a:r>
            <a:r>
              <a:rPr lang="zh-CN" altLang="en-US" b="1">
                <a:solidFill>
                  <a:schemeClr val="tx1"/>
                </a:solidFill>
              </a:rPr>
              <a:t>每个视图函数需要什么参数就传什么参数</a:t>
            </a:r>
            <a:r>
              <a:rPr lang="en-US" altLang="zh-CN" b="1">
                <a:solidFill>
                  <a:schemeClr val="tx1"/>
                </a:solidFill>
              </a:rPr>
              <a:t>.</a:t>
            </a:r>
            <a:endParaRPr lang="en-US" altLang="zh-CN" b="1">
              <a:solidFill>
                <a:schemeClr val="tx1"/>
              </a:solidFill>
            </a:endParaRPr>
          </a:p>
          <a:p>
            <a:pPr algn="l"/>
            <a:endParaRPr lang="en-US" altLang="zh-CN" b="1">
              <a:solidFill>
                <a:schemeClr val="tx1"/>
              </a:solidFill>
            </a:endParaRPr>
          </a:p>
          <a:p>
            <a:pPr algn="l"/>
            <a:r>
              <a:rPr lang="zh-CN" altLang="en-US" b="1">
                <a:solidFill>
                  <a:schemeClr val="tx1"/>
                </a:solidFill>
              </a:rPr>
              <a:t>上下文处理器就是创建模板变量</a:t>
            </a:r>
            <a:r>
              <a:rPr lang="en-US" altLang="zh-CN" b="1">
                <a:solidFill>
                  <a:schemeClr val="tx1"/>
                </a:solidFill>
              </a:rPr>
              <a:t>.</a:t>
            </a:r>
            <a:endParaRPr lang="en-US" altLang="zh-CN" b="1">
              <a:solidFill>
                <a:schemeClr val="tx1"/>
              </a:solidFill>
            </a:endParaRPr>
          </a:p>
        </p:txBody>
      </p:sp>
      <p:pic>
        <p:nvPicPr>
          <p:cNvPr id="3" name="图片 2"/>
          <p:cNvPicPr>
            <a:picLocks noChangeAspect="1"/>
          </p:cNvPicPr>
          <p:nvPr/>
        </p:nvPicPr>
        <p:blipFill>
          <a:blip r:embed="rId6"/>
          <a:stretch>
            <a:fillRect/>
          </a:stretch>
        </p:blipFill>
        <p:spPr>
          <a:xfrm>
            <a:off x="1997075" y="2729865"/>
            <a:ext cx="6968490" cy="3255010"/>
          </a:xfrm>
          <a:prstGeom prst="rect">
            <a:avLst/>
          </a:prstGeom>
        </p:spPr>
      </p:pic>
      <p:sp>
        <p:nvSpPr>
          <p:cNvPr id="227" name=" 227"/>
          <p:cNvSpPr/>
          <p:nvPr/>
        </p:nvSpPr>
        <p:spPr>
          <a:xfrm>
            <a:off x="7602220" y="2980690"/>
            <a:ext cx="4063365" cy="1758315"/>
          </a:xfrm>
          <a:prstGeom prst="wedgeEllipseCallout">
            <a:avLst>
              <a:gd name="adj1" fmla="val -25046"/>
              <a:gd name="adj2" fmla="val 65698"/>
            </a:avLst>
          </a:prstGeom>
          <a:solidFill>
            <a:srgbClr val="3F536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l" eaLnBrk="1" fontAlgn="auto" hangingPunct="1">
              <a:spcBef>
                <a:spcPts val="0"/>
              </a:spcBef>
              <a:spcAft>
                <a:spcPts val="0"/>
              </a:spcAft>
              <a:defRPr/>
            </a:pPr>
            <a:r>
              <a:rPr lang="zh-CN" altLang="en-US" dirty="0">
                <a:solidFill>
                  <a:srgbClr val="FFFFFF"/>
                </a:solidFill>
              </a:rPr>
              <a:t>在settings.py中，包含了当前使用的上下文处理器。他的作用是可以给每一个模板都提供相同的变量</a:t>
            </a:r>
            <a:endParaRPr lang="zh-CN" altLang="en-US" dirty="0">
              <a:solidFill>
                <a:srgbClr val="FFFFFF"/>
              </a:solidFill>
            </a:endParaRPr>
          </a:p>
        </p:txBody>
      </p:sp>
    </p:spTree>
    <p:custDataLst>
      <p:tags r:id="rId7"/>
    </p:custDataLst>
  </p:cSld>
  <p:clrMapOvr>
    <a:masterClrMapping/>
  </p:clrMapOvr>
  <p:transition spd="slow" advClick="0" advTm="3000">
    <p:randomBar dir="vert"/>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MH_Title_1"/>
          <p:cNvSpPr/>
          <p:nvPr>
            <p:custDataLst>
              <p:tags r:id="rId1"/>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25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2"/>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Yu Gothic UI Semibold" panose="020B0700000000000000" charset="-128"/>
              <a:ea typeface="Yu Gothic UI Semibold" panose="020B0700000000000000" charset="-128"/>
            </a:endParaRPr>
          </a:p>
        </p:txBody>
      </p:sp>
      <p:sp>
        <p:nvSpPr>
          <p:cNvPr id="20" name="MH_Other_2"/>
          <p:cNvSpPr/>
          <p:nvPr>
            <p:custDataLst>
              <p:tags r:id="rId3"/>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Yu Gothic UI Semibold" panose="020B0700000000000000" charset="-128"/>
              <a:ea typeface="Yu Gothic UI Semibold" panose="020B0700000000000000" charset="-128"/>
            </a:endParaRPr>
          </a:p>
        </p:txBody>
      </p:sp>
      <p:sp>
        <p:nvSpPr>
          <p:cNvPr id="21" name="MH_Other_3"/>
          <p:cNvSpPr/>
          <p:nvPr>
            <p:custDataLst>
              <p:tags r:id="rId4"/>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Yu Gothic UI Semibold" panose="020B0700000000000000" charset="-128"/>
              <a:ea typeface="Yu Gothic UI Semibold" panose="020B0700000000000000" charset="-128"/>
            </a:endParaRPr>
          </a:p>
        </p:txBody>
      </p:sp>
      <p:sp>
        <p:nvSpPr>
          <p:cNvPr id="22" name="MH_Other_4"/>
          <p:cNvSpPr/>
          <p:nvPr>
            <p:custDataLst>
              <p:tags r:id="rId5"/>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Yu Gothic UI Semibold" panose="020B0700000000000000" charset="-128"/>
              <a:ea typeface="Yu Gothic UI Semibold" panose="020B0700000000000000" charset="-128"/>
            </a:endParaRPr>
          </a:p>
        </p:txBody>
      </p:sp>
      <p:sp>
        <p:nvSpPr>
          <p:cNvPr id="4" name="标题 3"/>
          <p:cNvSpPr>
            <a:spLocks noGrp="1"/>
          </p:cNvSpPr>
          <p:nvPr>
            <p:ph type="title"/>
          </p:nvPr>
        </p:nvSpPr>
        <p:spPr>
          <a:xfrm>
            <a:off x="580390" y="223871"/>
            <a:ext cx="11239500" cy="968375"/>
          </a:xfrm>
        </p:spPr>
        <p:txBody>
          <a:bodyPr/>
          <a:lstStyle/>
          <a:p>
            <a:r>
              <a:rPr lang="zh-CN" altLang="en-US" dirty="0"/>
              <a:t>自定义上下文处理器例子</a:t>
            </a:r>
            <a:r>
              <a:rPr lang="en-US" altLang="zh-CN" dirty="0"/>
              <a:t>:</a:t>
            </a:r>
            <a:endParaRPr lang="en-US" altLang="zh-CN" dirty="0"/>
          </a:p>
        </p:txBody>
      </p:sp>
      <p:sp>
        <p:nvSpPr>
          <p:cNvPr id="2" name="剪去单角的矩形 1"/>
          <p:cNvSpPr/>
          <p:nvPr/>
        </p:nvSpPr>
        <p:spPr>
          <a:xfrm>
            <a:off x="1865630" y="2023110"/>
            <a:ext cx="7087235" cy="2235835"/>
          </a:xfrm>
          <a:prstGeom prst="snip1Rect">
            <a:avLst/>
          </a:prstGeom>
          <a:solidFill>
            <a:srgbClr val="E7686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fontAlgn="auto">
              <a:lnSpc>
                <a:spcPct val="150000"/>
              </a:lnSpc>
            </a:pPr>
            <a:r>
              <a:rPr lang="zh-CN" altLang="en-US" b="1">
                <a:solidFill>
                  <a:schemeClr val="bg1"/>
                </a:solidFill>
              </a:rPr>
              <a:t>在刚才的中间件的例子中</a:t>
            </a:r>
            <a:r>
              <a:rPr lang="en-US" altLang="zh-CN" b="1">
                <a:solidFill>
                  <a:schemeClr val="bg1"/>
                </a:solidFill>
              </a:rPr>
              <a:t>,</a:t>
            </a:r>
            <a:r>
              <a:rPr lang="zh-CN" altLang="en-US" b="1">
                <a:solidFill>
                  <a:schemeClr val="bg1"/>
                </a:solidFill>
              </a:rPr>
              <a:t>我们给</a:t>
            </a:r>
            <a:r>
              <a:rPr lang="en-US" altLang="zh-CN" b="1">
                <a:solidFill>
                  <a:schemeClr val="bg1"/>
                </a:solidFill>
              </a:rPr>
              <a:t>request </a:t>
            </a:r>
            <a:r>
              <a:rPr lang="zh-CN" altLang="en-US" b="1">
                <a:solidFill>
                  <a:schemeClr val="bg1"/>
                </a:solidFill>
              </a:rPr>
              <a:t>增加了一个</a:t>
            </a:r>
            <a:r>
              <a:rPr lang="en-US" altLang="zh-CN" b="1">
                <a:solidFill>
                  <a:schemeClr val="bg1"/>
                </a:solidFill>
              </a:rPr>
              <a:t>myuser</a:t>
            </a:r>
            <a:r>
              <a:rPr lang="zh-CN" altLang="en-US" b="1">
                <a:solidFill>
                  <a:schemeClr val="bg1"/>
                </a:solidFill>
              </a:rPr>
              <a:t>的属性</a:t>
            </a:r>
            <a:r>
              <a:rPr lang="en-US" altLang="zh-CN" b="1">
                <a:solidFill>
                  <a:schemeClr val="bg1"/>
                </a:solidFill>
              </a:rPr>
              <a:t>,</a:t>
            </a:r>
            <a:endParaRPr lang="zh-CN" altLang="en-US" b="1">
              <a:solidFill>
                <a:schemeClr val="bg1"/>
              </a:solidFill>
            </a:endParaRPr>
          </a:p>
          <a:p>
            <a:pPr algn="l" fontAlgn="auto">
              <a:lnSpc>
                <a:spcPct val="150000"/>
              </a:lnSpc>
            </a:pPr>
            <a:r>
              <a:rPr lang="zh-CN" altLang="en-US" b="1">
                <a:solidFill>
                  <a:schemeClr val="bg1"/>
                </a:solidFill>
              </a:rPr>
              <a:t>而如果每个模板中也就是每个页面上都需要用到登录用户名这个变</a:t>
            </a:r>
            <a:endParaRPr lang="zh-CN" altLang="en-US" b="1">
              <a:solidFill>
                <a:schemeClr val="bg1"/>
              </a:solidFill>
            </a:endParaRPr>
          </a:p>
          <a:p>
            <a:pPr algn="l" fontAlgn="auto">
              <a:lnSpc>
                <a:spcPct val="150000"/>
              </a:lnSpc>
            </a:pPr>
            <a:r>
              <a:rPr lang="zh-CN" altLang="en-US" b="1">
                <a:solidFill>
                  <a:schemeClr val="bg1"/>
                </a:solidFill>
              </a:rPr>
              <a:t>量名的话</a:t>
            </a:r>
            <a:r>
              <a:rPr lang="en-US" altLang="zh-CN" b="1">
                <a:solidFill>
                  <a:schemeClr val="bg1"/>
                </a:solidFill>
              </a:rPr>
              <a:t>, </a:t>
            </a:r>
            <a:r>
              <a:rPr lang="zh-CN" altLang="en-US" b="1">
                <a:solidFill>
                  <a:schemeClr val="bg1"/>
                </a:solidFill>
              </a:rPr>
              <a:t>那么我们也可以把这个变量在上下文处理器中将变量传给模板</a:t>
            </a:r>
            <a:r>
              <a:rPr lang="en-US" altLang="zh-CN" b="1">
                <a:solidFill>
                  <a:schemeClr val="bg1"/>
                </a:solidFill>
              </a:rPr>
              <a:t>.  </a:t>
            </a:r>
            <a:endParaRPr lang="zh-CN" altLang="en-US" b="1">
              <a:solidFill>
                <a:schemeClr val="bg1"/>
              </a:solidFill>
            </a:endParaRPr>
          </a:p>
          <a:p>
            <a:pPr algn="l"/>
            <a:endParaRPr lang="zh-CN" altLang="en-US" b="1">
              <a:solidFill>
                <a:schemeClr val="bg1"/>
              </a:solidFill>
            </a:endParaRPr>
          </a:p>
        </p:txBody>
      </p:sp>
    </p:spTree>
    <p:custDataLst>
      <p:tags r:id="rId6"/>
    </p:custDataLst>
  </p:cSld>
  <p:clrMapOvr>
    <a:masterClrMapping/>
  </p:clrMapOvr>
  <p:transition spd="slow" advClick="0" advTm="3000">
    <p:randomBar dir="vert"/>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MH_Title_1"/>
          <p:cNvSpPr/>
          <p:nvPr>
            <p:custDataLst>
              <p:tags r:id="rId1"/>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25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2"/>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Yu Gothic UI Semibold" panose="020B0700000000000000" charset="-128"/>
              <a:ea typeface="Yu Gothic UI Semibold" panose="020B0700000000000000" charset="-128"/>
            </a:endParaRPr>
          </a:p>
        </p:txBody>
      </p:sp>
      <p:sp>
        <p:nvSpPr>
          <p:cNvPr id="20" name="MH_Other_2"/>
          <p:cNvSpPr/>
          <p:nvPr>
            <p:custDataLst>
              <p:tags r:id="rId3"/>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Yu Gothic UI Semibold" panose="020B0700000000000000" charset="-128"/>
              <a:ea typeface="Yu Gothic UI Semibold" panose="020B0700000000000000" charset="-128"/>
            </a:endParaRPr>
          </a:p>
        </p:txBody>
      </p:sp>
      <p:sp>
        <p:nvSpPr>
          <p:cNvPr id="21" name="MH_Other_3"/>
          <p:cNvSpPr/>
          <p:nvPr>
            <p:custDataLst>
              <p:tags r:id="rId4"/>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Yu Gothic UI Semibold" panose="020B0700000000000000" charset="-128"/>
              <a:ea typeface="Yu Gothic UI Semibold" panose="020B0700000000000000" charset="-128"/>
            </a:endParaRPr>
          </a:p>
        </p:txBody>
      </p:sp>
      <p:sp>
        <p:nvSpPr>
          <p:cNvPr id="22" name="MH_Other_4"/>
          <p:cNvSpPr/>
          <p:nvPr>
            <p:custDataLst>
              <p:tags r:id="rId5"/>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Yu Gothic UI Semibold" panose="020B0700000000000000" charset="-128"/>
              <a:ea typeface="Yu Gothic UI Semibold" panose="020B0700000000000000" charset="-128"/>
            </a:endParaRPr>
          </a:p>
        </p:txBody>
      </p:sp>
      <p:sp>
        <p:nvSpPr>
          <p:cNvPr id="4" name="标题 3"/>
          <p:cNvSpPr>
            <a:spLocks noGrp="1"/>
          </p:cNvSpPr>
          <p:nvPr>
            <p:ph type="title"/>
          </p:nvPr>
        </p:nvSpPr>
        <p:spPr>
          <a:xfrm>
            <a:off x="580390" y="223871"/>
            <a:ext cx="11239500" cy="968375"/>
          </a:xfrm>
        </p:spPr>
        <p:txBody>
          <a:bodyPr/>
          <a:lstStyle/>
          <a:p>
            <a:r>
              <a:rPr lang="zh-CN" altLang="en-US" dirty="0"/>
              <a:t>自定义上下文处理器例子</a:t>
            </a:r>
            <a:r>
              <a:rPr lang="en-US" altLang="zh-CN" dirty="0"/>
              <a:t>:</a:t>
            </a:r>
            <a:endParaRPr lang="en-US" altLang="zh-CN" dirty="0"/>
          </a:p>
        </p:txBody>
      </p:sp>
      <p:pic>
        <p:nvPicPr>
          <p:cNvPr id="3" name="图片 2"/>
          <p:cNvPicPr>
            <a:picLocks noChangeAspect="1"/>
          </p:cNvPicPr>
          <p:nvPr/>
        </p:nvPicPr>
        <p:blipFill>
          <a:blip r:embed="rId6"/>
          <a:stretch>
            <a:fillRect/>
          </a:stretch>
        </p:blipFill>
        <p:spPr>
          <a:xfrm>
            <a:off x="908050" y="1621790"/>
            <a:ext cx="6819265" cy="2793365"/>
          </a:xfrm>
          <a:prstGeom prst="rect">
            <a:avLst/>
          </a:prstGeom>
        </p:spPr>
      </p:pic>
      <p:sp>
        <p:nvSpPr>
          <p:cNvPr id="5" name="剪去单角的矩形 4"/>
          <p:cNvSpPr/>
          <p:nvPr/>
        </p:nvSpPr>
        <p:spPr>
          <a:xfrm>
            <a:off x="8078470" y="1310640"/>
            <a:ext cx="2688590" cy="4003040"/>
          </a:xfrm>
          <a:prstGeom prst="snip1Rect">
            <a:avLst/>
          </a:prstGeom>
          <a:solidFill>
            <a:srgbClr val="5BA78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altLang="zh-CN">
                <a:sym typeface="+mn-ea"/>
              </a:rPr>
              <a:t>1.</a:t>
            </a:r>
            <a:r>
              <a:rPr lang="zh-CN">
                <a:sym typeface="+mn-ea"/>
              </a:rPr>
              <a:t>在主目录下创建了一个</a:t>
            </a:r>
            <a:r>
              <a:rPr lang="en-US" altLang="zh-CN">
                <a:sym typeface="+mn-ea"/>
              </a:rPr>
              <a:t>.py</a:t>
            </a:r>
            <a:r>
              <a:rPr lang="zh-CN" altLang="en-US">
                <a:sym typeface="+mn-ea"/>
              </a:rPr>
              <a:t>的文件</a:t>
            </a:r>
            <a:r>
              <a:rPr lang="en-US" altLang="zh-CN">
                <a:sym typeface="+mn-ea"/>
              </a:rPr>
              <a:t>.</a:t>
            </a:r>
            <a:endParaRPr lang="en-US" altLang="zh-CN"/>
          </a:p>
          <a:p>
            <a:pPr algn="l"/>
            <a:r>
              <a:rPr lang="en-US" altLang="zh-CN">
                <a:sym typeface="+mn-ea"/>
              </a:rPr>
              <a:t>2.</a:t>
            </a:r>
            <a:r>
              <a:rPr lang="zh-CN" altLang="en-US">
                <a:sym typeface="+mn-ea"/>
              </a:rPr>
              <a:t>在</a:t>
            </a:r>
            <a:r>
              <a:rPr lang="en-US" altLang="zh-CN">
                <a:sym typeface="+mn-ea"/>
              </a:rPr>
              <a:t>.py</a:t>
            </a:r>
            <a:r>
              <a:rPr lang="zh-CN" altLang="en-US">
                <a:sym typeface="+mn-ea"/>
              </a:rPr>
              <a:t>的文件中创建一个</a:t>
            </a:r>
            <a:r>
              <a:rPr lang="en-US" altLang="zh-CN">
                <a:sym typeface="+mn-ea"/>
              </a:rPr>
              <a:t>myuser</a:t>
            </a:r>
            <a:r>
              <a:rPr lang="zh-CN" altLang="en-US">
                <a:sym typeface="+mn-ea"/>
              </a:rPr>
              <a:t>的函数</a:t>
            </a:r>
            <a:endParaRPr lang="zh-CN" altLang="en-US">
              <a:sym typeface="+mn-ea"/>
            </a:endParaRPr>
          </a:p>
          <a:p>
            <a:pPr algn="l"/>
            <a:r>
              <a:rPr lang="en-US" altLang="zh-CN"/>
              <a:t>3.</a:t>
            </a:r>
            <a:r>
              <a:rPr lang="zh-CN" altLang="en-US"/>
              <a:t>必须传入</a:t>
            </a:r>
            <a:r>
              <a:rPr lang="en-US" altLang="zh-CN"/>
              <a:t>request</a:t>
            </a:r>
            <a:r>
              <a:rPr lang="zh-CN" altLang="en-US"/>
              <a:t>这个参数</a:t>
            </a:r>
            <a:endParaRPr lang="zh-CN" altLang="en-US"/>
          </a:p>
          <a:p>
            <a:pPr algn="l"/>
            <a:r>
              <a:rPr lang="en-US" altLang="zh-CN"/>
              <a:t>4.</a:t>
            </a:r>
            <a:r>
              <a:rPr lang="zh-CN" altLang="en-US"/>
              <a:t>必须返回一个字典类型的对象</a:t>
            </a:r>
            <a:r>
              <a:rPr lang="en-US" altLang="zh-CN"/>
              <a:t>.</a:t>
            </a:r>
            <a:endParaRPr lang="en-US" altLang="zh-CN"/>
          </a:p>
        </p:txBody>
      </p:sp>
    </p:spTree>
    <p:custDataLst>
      <p:tags r:id="rId7"/>
    </p:custDataLst>
  </p:cSld>
  <p:clrMapOvr>
    <a:masterClrMapping/>
  </p:clrMapOvr>
  <p:transition spd="slow" advClick="0" advTm="3000">
    <p:randomBar dir="vert"/>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MH_Title_1"/>
          <p:cNvSpPr/>
          <p:nvPr>
            <p:custDataLst>
              <p:tags r:id="rId1"/>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25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2"/>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Yu Gothic UI Semibold" panose="020B0700000000000000" charset="-128"/>
              <a:ea typeface="Yu Gothic UI Semibold" panose="020B0700000000000000" charset="-128"/>
            </a:endParaRPr>
          </a:p>
        </p:txBody>
      </p:sp>
      <p:sp>
        <p:nvSpPr>
          <p:cNvPr id="20" name="MH_Other_2"/>
          <p:cNvSpPr/>
          <p:nvPr>
            <p:custDataLst>
              <p:tags r:id="rId3"/>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Yu Gothic UI Semibold" panose="020B0700000000000000" charset="-128"/>
              <a:ea typeface="Yu Gothic UI Semibold" panose="020B0700000000000000" charset="-128"/>
            </a:endParaRPr>
          </a:p>
        </p:txBody>
      </p:sp>
      <p:sp>
        <p:nvSpPr>
          <p:cNvPr id="21" name="MH_Other_3"/>
          <p:cNvSpPr/>
          <p:nvPr>
            <p:custDataLst>
              <p:tags r:id="rId4"/>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Yu Gothic UI Semibold" panose="020B0700000000000000" charset="-128"/>
              <a:ea typeface="Yu Gothic UI Semibold" panose="020B0700000000000000" charset="-128"/>
            </a:endParaRPr>
          </a:p>
        </p:txBody>
      </p:sp>
      <p:sp>
        <p:nvSpPr>
          <p:cNvPr id="22" name="MH_Other_4"/>
          <p:cNvSpPr/>
          <p:nvPr>
            <p:custDataLst>
              <p:tags r:id="rId5"/>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Yu Gothic UI Semibold" panose="020B0700000000000000" charset="-128"/>
              <a:ea typeface="Yu Gothic UI Semibold" panose="020B0700000000000000" charset="-128"/>
            </a:endParaRPr>
          </a:p>
        </p:txBody>
      </p:sp>
      <p:sp>
        <p:nvSpPr>
          <p:cNvPr id="4" name="标题 3"/>
          <p:cNvSpPr>
            <a:spLocks noGrp="1"/>
          </p:cNvSpPr>
          <p:nvPr>
            <p:ph type="title"/>
          </p:nvPr>
        </p:nvSpPr>
        <p:spPr>
          <a:xfrm>
            <a:off x="580390" y="223871"/>
            <a:ext cx="11239500" cy="968375"/>
          </a:xfrm>
        </p:spPr>
        <p:txBody>
          <a:bodyPr/>
          <a:lstStyle/>
          <a:p>
            <a:r>
              <a:rPr lang="zh-CN" altLang="en-US" dirty="0"/>
              <a:t>注册上下文处理器</a:t>
            </a:r>
            <a:r>
              <a:rPr lang="en-US" altLang="zh-CN" dirty="0"/>
              <a:t>:</a:t>
            </a:r>
            <a:endParaRPr lang="en-US" altLang="zh-CN" dirty="0"/>
          </a:p>
        </p:txBody>
      </p:sp>
      <p:sp>
        <p:nvSpPr>
          <p:cNvPr id="6" name="文本框 5"/>
          <p:cNvSpPr txBox="1"/>
          <p:nvPr/>
        </p:nvSpPr>
        <p:spPr>
          <a:xfrm>
            <a:off x="1711325" y="1345565"/>
            <a:ext cx="7153275" cy="368300"/>
          </a:xfrm>
          <a:prstGeom prst="rect">
            <a:avLst/>
          </a:prstGeom>
          <a:solidFill>
            <a:srgbClr val="E5AB74"/>
          </a:solidFill>
        </p:spPr>
        <p:txBody>
          <a:bodyPr wrap="square" rtlCol="0" anchor="t">
            <a:spAutoFit/>
          </a:bodyPr>
          <a:lstStyle/>
          <a:p>
            <a:r>
              <a:t>将</a:t>
            </a:r>
            <a:r>
              <a:rPr lang="en-US"/>
              <a:t>myuser</a:t>
            </a:r>
            <a:r>
              <a:t>注册到settings.py中间件中：</a:t>
            </a:r>
          </a:p>
        </p:txBody>
      </p:sp>
      <p:sp>
        <p:nvSpPr>
          <p:cNvPr id="5" name="剪去单角的矩形 4"/>
          <p:cNvSpPr/>
          <p:nvPr/>
        </p:nvSpPr>
        <p:spPr>
          <a:xfrm>
            <a:off x="1711325" y="5235575"/>
            <a:ext cx="7427595" cy="1120775"/>
          </a:xfrm>
          <a:prstGeom prst="snip1Rect">
            <a:avLst/>
          </a:prstGeom>
          <a:solidFill>
            <a:srgbClr val="3F536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altLang="zh-CN"/>
              <a:t>mysite</a:t>
            </a:r>
            <a:r>
              <a:rPr lang="zh-CN" altLang="en-US"/>
              <a:t>是项目名</a:t>
            </a:r>
            <a:r>
              <a:rPr lang="en-US" altLang="zh-CN"/>
              <a:t>,</a:t>
            </a:r>
            <a:r>
              <a:rPr lang="zh-CN" altLang="en-US"/>
              <a:t>先找到文件所在的位置</a:t>
            </a:r>
            <a:r>
              <a:rPr lang="en-US" altLang="zh-CN"/>
              <a:t>,</a:t>
            </a:r>
            <a:r>
              <a:rPr lang="zh-CN" altLang="en-US"/>
              <a:t>把自定义的上下文处理器的函数添加到</a:t>
            </a:r>
            <a:r>
              <a:t>TEMPLATES-&gt;OPTIONS-&gt;context_processors中。</a:t>
            </a:r>
          </a:p>
        </p:txBody>
      </p:sp>
      <p:pic>
        <p:nvPicPr>
          <p:cNvPr id="3" name="图片 2"/>
          <p:cNvPicPr>
            <a:picLocks noChangeAspect="1"/>
          </p:cNvPicPr>
          <p:nvPr/>
        </p:nvPicPr>
        <p:blipFill>
          <a:blip r:embed="rId6"/>
          <a:stretch>
            <a:fillRect/>
          </a:stretch>
        </p:blipFill>
        <p:spPr>
          <a:xfrm>
            <a:off x="1710690" y="1713865"/>
            <a:ext cx="7153910" cy="3521075"/>
          </a:xfrm>
          <a:prstGeom prst="rect">
            <a:avLst/>
          </a:prstGeom>
        </p:spPr>
      </p:pic>
    </p:spTree>
    <p:custDataLst>
      <p:tags r:id="rId7"/>
    </p:custDataLst>
  </p:cSld>
  <p:clrMapOvr>
    <a:masterClrMapping/>
  </p:clrMapOvr>
  <p:transition spd="slow" advClick="0" advTm="3000">
    <p:randomBar dir="vert"/>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MH_Title_1"/>
          <p:cNvSpPr/>
          <p:nvPr>
            <p:custDataLst>
              <p:tags r:id="rId1"/>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25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2"/>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Yu Gothic UI Semibold" panose="020B0700000000000000" charset="-128"/>
              <a:ea typeface="Yu Gothic UI Semibold" panose="020B0700000000000000" charset="-128"/>
            </a:endParaRPr>
          </a:p>
        </p:txBody>
      </p:sp>
      <p:sp>
        <p:nvSpPr>
          <p:cNvPr id="20" name="MH_Other_2"/>
          <p:cNvSpPr/>
          <p:nvPr>
            <p:custDataLst>
              <p:tags r:id="rId3"/>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Yu Gothic UI Semibold" panose="020B0700000000000000" charset="-128"/>
              <a:ea typeface="Yu Gothic UI Semibold" panose="020B0700000000000000" charset="-128"/>
            </a:endParaRPr>
          </a:p>
        </p:txBody>
      </p:sp>
      <p:sp>
        <p:nvSpPr>
          <p:cNvPr id="21" name="MH_Other_3"/>
          <p:cNvSpPr/>
          <p:nvPr>
            <p:custDataLst>
              <p:tags r:id="rId4"/>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Yu Gothic UI Semibold" panose="020B0700000000000000" charset="-128"/>
              <a:ea typeface="Yu Gothic UI Semibold" panose="020B0700000000000000" charset="-128"/>
            </a:endParaRPr>
          </a:p>
        </p:txBody>
      </p:sp>
      <p:sp>
        <p:nvSpPr>
          <p:cNvPr id="22" name="MH_Other_4"/>
          <p:cNvSpPr/>
          <p:nvPr>
            <p:custDataLst>
              <p:tags r:id="rId5"/>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Yu Gothic UI Semibold" panose="020B0700000000000000" charset="-128"/>
              <a:ea typeface="Yu Gothic UI Semibold" panose="020B0700000000000000" charset="-128"/>
            </a:endParaRPr>
          </a:p>
        </p:txBody>
      </p:sp>
      <p:sp>
        <p:nvSpPr>
          <p:cNvPr id="4" name="标题 3"/>
          <p:cNvSpPr>
            <a:spLocks noGrp="1"/>
          </p:cNvSpPr>
          <p:nvPr>
            <p:ph type="title"/>
          </p:nvPr>
        </p:nvSpPr>
        <p:spPr>
          <a:xfrm>
            <a:off x="580390" y="223871"/>
            <a:ext cx="11239500" cy="968375"/>
          </a:xfrm>
        </p:spPr>
        <p:txBody>
          <a:bodyPr/>
          <a:lstStyle/>
          <a:p>
            <a:r>
              <a:rPr lang="zh-CN" altLang="en-US" dirty="0"/>
              <a:t>中间件和上</a:t>
            </a:r>
            <a:r>
              <a:rPr lang="zh-CN" altLang="en-US" dirty="0" smtClean="0"/>
              <a:t>下</a:t>
            </a:r>
            <a:r>
              <a:rPr lang="zh-CN" altLang="en-US" dirty="0"/>
              <a:t>文</a:t>
            </a:r>
            <a:r>
              <a:rPr lang="zh-CN" altLang="en-US" dirty="0" smtClean="0"/>
              <a:t>的</a:t>
            </a:r>
            <a:r>
              <a:rPr lang="zh-CN" altLang="en-US" dirty="0"/>
              <a:t>总结</a:t>
            </a:r>
            <a:r>
              <a:rPr lang="en-US" altLang="zh-CN" dirty="0"/>
              <a:t>:</a:t>
            </a:r>
            <a:endParaRPr lang="en-US" altLang="zh-CN" dirty="0"/>
          </a:p>
        </p:txBody>
      </p:sp>
      <p:sp>
        <p:nvSpPr>
          <p:cNvPr id="3" name="圆角矩形 2"/>
          <p:cNvSpPr/>
          <p:nvPr/>
        </p:nvSpPr>
        <p:spPr>
          <a:xfrm>
            <a:off x="1694815" y="1805940"/>
            <a:ext cx="7958455" cy="3079115"/>
          </a:xfrm>
          <a:prstGeom prst="roundRect">
            <a:avLst/>
          </a:prstGeom>
          <a:solidFill>
            <a:srgbClr val="E76861"/>
          </a:solidFill>
          <a:ln>
            <a:solidFill>
              <a:srgbClr val="8D86B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685165" rtl="0" eaLnBrk="1" latinLnBrk="0" hangingPunct="1">
              <a:defRPr sz="1350" kern="1200">
                <a:solidFill>
                  <a:schemeClr val="lt1"/>
                </a:solidFill>
                <a:latin typeface="+mn-lt"/>
                <a:ea typeface="+mn-ea"/>
                <a:cs typeface="+mn-cs"/>
              </a:defRPr>
            </a:lvl1pPr>
            <a:lvl2pPr marL="342900" algn="l" defTabSz="685165" rtl="0" eaLnBrk="1" latinLnBrk="0" hangingPunct="1">
              <a:defRPr sz="1350" kern="1200">
                <a:solidFill>
                  <a:schemeClr val="lt1"/>
                </a:solidFill>
                <a:latin typeface="+mn-lt"/>
                <a:ea typeface="+mn-ea"/>
                <a:cs typeface="+mn-cs"/>
              </a:defRPr>
            </a:lvl2pPr>
            <a:lvl3pPr marL="685800" algn="l" defTabSz="685165" rtl="0" eaLnBrk="1" latinLnBrk="0" hangingPunct="1">
              <a:defRPr sz="1350" kern="1200">
                <a:solidFill>
                  <a:schemeClr val="lt1"/>
                </a:solidFill>
                <a:latin typeface="+mn-lt"/>
                <a:ea typeface="+mn-ea"/>
                <a:cs typeface="+mn-cs"/>
              </a:defRPr>
            </a:lvl3pPr>
            <a:lvl4pPr marL="1028700" algn="l" defTabSz="685165" rtl="0" eaLnBrk="1" latinLnBrk="0" hangingPunct="1">
              <a:defRPr sz="1350" kern="1200">
                <a:solidFill>
                  <a:schemeClr val="lt1"/>
                </a:solidFill>
                <a:latin typeface="+mn-lt"/>
                <a:ea typeface="+mn-ea"/>
                <a:cs typeface="+mn-cs"/>
              </a:defRPr>
            </a:lvl4pPr>
            <a:lvl5pPr marL="1371600" algn="l" defTabSz="685165" rtl="0" eaLnBrk="1" latinLnBrk="0" hangingPunct="1">
              <a:defRPr sz="1350" kern="1200">
                <a:solidFill>
                  <a:schemeClr val="lt1"/>
                </a:solidFill>
                <a:latin typeface="+mn-lt"/>
                <a:ea typeface="+mn-ea"/>
                <a:cs typeface="+mn-cs"/>
              </a:defRPr>
            </a:lvl5pPr>
            <a:lvl6pPr marL="1714500" algn="l" defTabSz="685165" rtl="0" eaLnBrk="1" latinLnBrk="0" hangingPunct="1">
              <a:defRPr sz="1350" kern="1200">
                <a:solidFill>
                  <a:schemeClr val="lt1"/>
                </a:solidFill>
                <a:latin typeface="+mn-lt"/>
                <a:ea typeface="+mn-ea"/>
                <a:cs typeface="+mn-cs"/>
              </a:defRPr>
            </a:lvl6pPr>
            <a:lvl7pPr marL="2057400" algn="l" defTabSz="685165" rtl="0" eaLnBrk="1" latinLnBrk="0" hangingPunct="1">
              <a:defRPr sz="1350" kern="1200">
                <a:solidFill>
                  <a:schemeClr val="lt1"/>
                </a:solidFill>
                <a:latin typeface="+mn-lt"/>
                <a:ea typeface="+mn-ea"/>
                <a:cs typeface="+mn-cs"/>
              </a:defRPr>
            </a:lvl7pPr>
            <a:lvl8pPr marL="2400300" algn="l" defTabSz="685165" rtl="0" eaLnBrk="1" latinLnBrk="0" hangingPunct="1">
              <a:defRPr sz="1350" kern="1200">
                <a:solidFill>
                  <a:schemeClr val="lt1"/>
                </a:solidFill>
                <a:latin typeface="+mn-lt"/>
                <a:ea typeface="+mn-ea"/>
                <a:cs typeface="+mn-cs"/>
              </a:defRPr>
            </a:lvl8pPr>
            <a:lvl9pPr marL="2743200" algn="l" defTabSz="685165" rtl="0" eaLnBrk="1" latinLnBrk="0" hangingPunct="1">
              <a:defRPr sz="1350" kern="1200">
                <a:solidFill>
                  <a:schemeClr val="lt1"/>
                </a:solidFill>
                <a:latin typeface="+mn-lt"/>
                <a:ea typeface="+mn-ea"/>
                <a:cs typeface="+mn-cs"/>
              </a:defRPr>
            </a:lvl9pPr>
          </a:lstStyle>
          <a:p>
            <a:pPr algn="l" defTabSz="913765" fontAlgn="auto">
              <a:lnSpc>
                <a:spcPct val="150000"/>
              </a:lnSpc>
              <a:defRPr/>
            </a:pPr>
            <a:r>
              <a:rPr lang="zh-CN" sz="200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我们刚才分别用中间件和上下文完成了跟登录用户有关的例子</a:t>
            </a:r>
            <a:r>
              <a:rPr lang="en-US" altLang="zh-CN" sz="200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 </a:t>
            </a:r>
            <a:r>
              <a:rPr lang="zh-CN" altLang="en-US" sz="200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最后的结果都是能在页面上显示用户的用户名了</a:t>
            </a:r>
            <a:r>
              <a:rPr lang="en-US" altLang="zh-CN" sz="200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2000">
              <a:solidFill>
                <a:schemeClr val="bg1"/>
              </a:solidFill>
              <a:latin typeface="微软雅黑" panose="020B0503020204020204" pitchFamily="34" charset="-122"/>
              <a:ea typeface="微软雅黑" panose="020B0503020204020204" pitchFamily="34" charset="-122"/>
              <a:cs typeface="微软雅黑" panose="020B0503020204020204" pitchFamily="34" charset="-122"/>
            </a:endParaRPr>
          </a:p>
          <a:p>
            <a:pPr algn="l" defTabSz="913765" fontAlgn="auto">
              <a:lnSpc>
                <a:spcPct val="150000"/>
              </a:lnSpc>
              <a:defRPr/>
            </a:pPr>
            <a:r>
              <a:rPr lang="zh-CN" altLang="en-US" sz="2000" b="1">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中间件</a:t>
            </a:r>
            <a:r>
              <a:rPr lang="zh-CN" altLang="en-US" sz="200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是在用户请求到响应的过程中去加入一些额外的逻辑功能</a:t>
            </a:r>
            <a:r>
              <a:rPr lang="en-US" altLang="zh-CN" sz="200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2000">
              <a:solidFill>
                <a:schemeClr val="bg1"/>
              </a:solidFill>
              <a:latin typeface="微软雅黑" panose="020B0503020204020204" pitchFamily="34" charset="-122"/>
              <a:ea typeface="微软雅黑" panose="020B0503020204020204" pitchFamily="34" charset="-122"/>
              <a:cs typeface="微软雅黑" panose="020B0503020204020204" pitchFamily="34" charset="-122"/>
            </a:endParaRPr>
          </a:p>
          <a:p>
            <a:pPr algn="l" defTabSz="913765" fontAlgn="auto">
              <a:lnSpc>
                <a:spcPct val="150000"/>
              </a:lnSpc>
              <a:defRPr/>
            </a:pPr>
            <a:r>
              <a:rPr lang="zh-CN" altLang="en-US" sz="200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例子中给</a:t>
            </a:r>
            <a:r>
              <a:rPr lang="en-US" altLang="zh-CN" sz="200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request</a:t>
            </a:r>
            <a:r>
              <a:rPr lang="zh-CN" altLang="en-US" sz="200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增加了一个</a:t>
            </a:r>
            <a:r>
              <a:rPr lang="en-US" altLang="zh-CN" sz="200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myuser</a:t>
            </a:r>
            <a:r>
              <a:rPr lang="zh-CN" altLang="en-US" sz="200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的属性</a:t>
            </a:r>
            <a:r>
              <a:rPr lang="en-US" altLang="zh-CN" sz="200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2000">
              <a:solidFill>
                <a:schemeClr val="bg1"/>
              </a:solidFill>
              <a:latin typeface="微软雅黑" panose="020B0503020204020204" pitchFamily="34" charset="-122"/>
              <a:ea typeface="微软雅黑" panose="020B0503020204020204" pitchFamily="34" charset="-122"/>
              <a:cs typeface="微软雅黑" panose="020B0503020204020204" pitchFamily="34" charset="-122"/>
            </a:endParaRPr>
          </a:p>
          <a:p>
            <a:pPr algn="l" defTabSz="913765" fontAlgn="auto">
              <a:lnSpc>
                <a:spcPct val="150000"/>
              </a:lnSpc>
              <a:defRPr/>
            </a:pPr>
            <a:r>
              <a:rPr lang="zh-CN" altLang="en-US" sz="2000" b="1">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上下文</a:t>
            </a:r>
            <a:r>
              <a:rPr lang="zh-CN" altLang="en-US" sz="200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是给所有的模板增加变量</a:t>
            </a:r>
            <a:endParaRPr lang="zh-CN" altLang="en-US" sz="2000">
              <a:solidFill>
                <a:schemeClr val="bg1"/>
              </a:solidFill>
              <a:latin typeface="微软雅黑" panose="020B0503020204020204" pitchFamily="34" charset="-122"/>
              <a:ea typeface="微软雅黑" panose="020B0503020204020204" pitchFamily="34" charset="-122"/>
              <a:cs typeface="微软雅黑" panose="020B0503020204020204" pitchFamily="34" charset="-122"/>
            </a:endParaRPr>
          </a:p>
          <a:p>
            <a:pPr algn="l" defTabSz="913765" fontAlgn="auto">
              <a:lnSpc>
                <a:spcPct val="150000"/>
              </a:lnSpc>
              <a:defRPr/>
            </a:pPr>
            <a:r>
              <a:rPr lang="zh-CN" altLang="en-US" sz="200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例子中给模板增加了一个</a:t>
            </a:r>
            <a:r>
              <a:rPr lang="en-US" altLang="zh-CN" sz="200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myuser</a:t>
            </a:r>
            <a:r>
              <a:rPr lang="zh-CN" altLang="en-US" sz="200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的变量</a:t>
            </a:r>
            <a:r>
              <a:rPr lang="en-US" altLang="zh-CN" sz="200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2000">
              <a:solidFill>
                <a:schemeClr val="bg1"/>
              </a:solidFill>
              <a:latin typeface="微软雅黑" panose="020B0503020204020204" pitchFamily="34" charset="-122"/>
              <a:ea typeface="微软雅黑" panose="020B0503020204020204" pitchFamily="34" charset="-122"/>
              <a:cs typeface="微软雅黑" panose="020B0503020204020204" pitchFamily="34" charset="-122"/>
            </a:endParaRPr>
          </a:p>
        </p:txBody>
      </p:sp>
    </p:spTree>
    <p:custDataLst>
      <p:tags r:id="rId6"/>
    </p:custDataLst>
  </p:cSld>
  <p:clrMapOvr>
    <a:masterClrMapping/>
  </p:clrMapOvr>
  <p:transition spd="slow" advClick="0" advTm="3000">
    <p:randomBar dir="vert"/>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MH_Title_1"/>
          <p:cNvSpPr/>
          <p:nvPr>
            <p:custDataLst>
              <p:tags r:id="rId1"/>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25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2"/>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Yu Gothic UI Semibold" panose="020B0700000000000000" charset="-128"/>
              <a:ea typeface="Yu Gothic UI Semibold" panose="020B0700000000000000" charset="-128"/>
            </a:endParaRPr>
          </a:p>
        </p:txBody>
      </p:sp>
      <p:sp>
        <p:nvSpPr>
          <p:cNvPr id="20" name="MH_Other_2"/>
          <p:cNvSpPr/>
          <p:nvPr>
            <p:custDataLst>
              <p:tags r:id="rId3"/>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Yu Gothic UI Semibold" panose="020B0700000000000000" charset="-128"/>
              <a:ea typeface="Yu Gothic UI Semibold" panose="020B0700000000000000" charset="-128"/>
            </a:endParaRPr>
          </a:p>
        </p:txBody>
      </p:sp>
      <p:sp>
        <p:nvSpPr>
          <p:cNvPr id="21" name="MH_Other_3"/>
          <p:cNvSpPr/>
          <p:nvPr>
            <p:custDataLst>
              <p:tags r:id="rId4"/>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Yu Gothic UI Semibold" panose="020B0700000000000000" charset="-128"/>
              <a:ea typeface="Yu Gothic UI Semibold" panose="020B0700000000000000" charset="-128"/>
            </a:endParaRPr>
          </a:p>
        </p:txBody>
      </p:sp>
      <p:sp>
        <p:nvSpPr>
          <p:cNvPr id="22" name="MH_Other_4"/>
          <p:cNvSpPr/>
          <p:nvPr>
            <p:custDataLst>
              <p:tags r:id="rId5"/>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Yu Gothic UI Semibold" panose="020B0700000000000000" charset="-128"/>
              <a:ea typeface="Yu Gothic UI Semibold" panose="020B0700000000000000" charset="-128"/>
            </a:endParaRPr>
          </a:p>
        </p:txBody>
      </p:sp>
      <p:sp>
        <p:nvSpPr>
          <p:cNvPr id="4" name="标题 3"/>
          <p:cNvSpPr>
            <a:spLocks noGrp="1"/>
          </p:cNvSpPr>
          <p:nvPr>
            <p:ph type="title"/>
          </p:nvPr>
        </p:nvSpPr>
        <p:spPr>
          <a:xfrm>
            <a:off x="580390" y="223871"/>
            <a:ext cx="11239500" cy="968375"/>
          </a:xfrm>
        </p:spPr>
        <p:txBody>
          <a:bodyPr/>
          <a:lstStyle/>
          <a:p>
            <a:r>
              <a:rPr lang="en-US" altLang="zh-CN" dirty="0"/>
              <a:t>admin</a:t>
            </a:r>
            <a:r>
              <a:rPr lang="zh-CN" altLang="en-US" dirty="0"/>
              <a:t>后台的引入</a:t>
            </a:r>
            <a:r>
              <a:rPr lang="en-US" altLang="zh-CN" dirty="0"/>
              <a:t>:</a:t>
            </a:r>
            <a:endParaRPr lang="en-US" altLang="zh-CN" dirty="0"/>
          </a:p>
        </p:txBody>
      </p:sp>
      <p:pic>
        <p:nvPicPr>
          <p:cNvPr id="2" name="图片 1"/>
          <p:cNvPicPr>
            <a:picLocks noChangeAspect="1"/>
          </p:cNvPicPr>
          <p:nvPr/>
        </p:nvPicPr>
        <p:blipFill>
          <a:blip r:embed="rId6"/>
          <a:stretch>
            <a:fillRect/>
          </a:stretch>
        </p:blipFill>
        <p:spPr>
          <a:xfrm>
            <a:off x="1932305" y="1926590"/>
            <a:ext cx="5561965" cy="2609215"/>
          </a:xfrm>
          <a:prstGeom prst="rect">
            <a:avLst/>
          </a:prstGeom>
        </p:spPr>
      </p:pic>
      <p:sp>
        <p:nvSpPr>
          <p:cNvPr id="228" name=" 228"/>
          <p:cNvSpPr/>
          <p:nvPr/>
        </p:nvSpPr>
        <p:spPr>
          <a:xfrm>
            <a:off x="6624320" y="1276350"/>
            <a:ext cx="4251960" cy="1527175"/>
          </a:xfrm>
          <a:prstGeom prst="wedgeRectCallout">
            <a:avLst>
              <a:gd name="adj1" fmla="val -33182"/>
              <a:gd name="adj2" fmla="val 86460"/>
            </a:avLst>
          </a:prstGeom>
          <a:solidFill>
            <a:srgbClr val="E5AB7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l" eaLnBrk="1" fontAlgn="auto" hangingPunct="1">
              <a:spcBef>
                <a:spcPts val="0"/>
              </a:spcBef>
              <a:spcAft>
                <a:spcPts val="0"/>
              </a:spcAft>
              <a:defRPr/>
            </a:pPr>
            <a:r>
              <a:rPr lang="zh-CN" altLang="en-US" b="1">
                <a:solidFill>
                  <a:schemeClr val="tx1"/>
                </a:solidFill>
              </a:rPr>
              <a:t>在项目的目录下我们会看到这样一个</a:t>
            </a:r>
            <a:r>
              <a:rPr lang="en-US" altLang="zh-CN" b="1">
                <a:solidFill>
                  <a:schemeClr val="tx1"/>
                </a:solidFill>
              </a:rPr>
              <a:t>url</a:t>
            </a:r>
            <a:r>
              <a:rPr lang="zh-CN" altLang="en-US" b="1">
                <a:solidFill>
                  <a:schemeClr val="tx1"/>
                </a:solidFill>
              </a:rPr>
              <a:t>的配置</a:t>
            </a:r>
            <a:r>
              <a:rPr lang="en-US" altLang="zh-CN" b="1">
                <a:solidFill>
                  <a:schemeClr val="tx1"/>
                </a:solidFill>
              </a:rPr>
              <a:t>,</a:t>
            </a:r>
            <a:r>
              <a:rPr lang="zh-CN" altLang="en-US" b="1">
                <a:solidFill>
                  <a:schemeClr val="tx1"/>
                </a:solidFill>
              </a:rPr>
              <a:t>你有自己去访问这个</a:t>
            </a:r>
            <a:r>
              <a:rPr lang="en-US" altLang="zh-CN" b="1">
                <a:solidFill>
                  <a:schemeClr val="tx1"/>
                </a:solidFill>
              </a:rPr>
              <a:t>url</a:t>
            </a:r>
            <a:r>
              <a:rPr lang="zh-CN" altLang="en-US" b="1">
                <a:solidFill>
                  <a:schemeClr val="tx1"/>
                </a:solidFill>
              </a:rPr>
              <a:t>地址吗</a:t>
            </a:r>
            <a:r>
              <a:rPr lang="en-US" altLang="zh-CN" b="1">
                <a:solidFill>
                  <a:schemeClr val="tx1"/>
                </a:solidFill>
              </a:rPr>
              <a:t>??</a:t>
            </a:r>
            <a:endParaRPr lang="en-US" altLang="zh-CN" b="1">
              <a:solidFill>
                <a:schemeClr val="tx1"/>
              </a:solidFill>
            </a:endParaRPr>
          </a:p>
          <a:p>
            <a:pPr algn="l" eaLnBrk="1" fontAlgn="auto" hangingPunct="1">
              <a:spcBef>
                <a:spcPts val="0"/>
              </a:spcBef>
              <a:spcAft>
                <a:spcPts val="0"/>
              </a:spcAft>
              <a:defRPr/>
            </a:pPr>
            <a:r>
              <a:rPr lang="zh-CN" altLang="en-US" b="1">
                <a:solidFill>
                  <a:schemeClr val="tx1"/>
                </a:solidFill>
              </a:rPr>
              <a:t>访问之后发现了什么呢</a:t>
            </a:r>
            <a:r>
              <a:rPr lang="en-US" altLang="zh-CN" b="1">
                <a:solidFill>
                  <a:schemeClr val="tx1"/>
                </a:solidFill>
              </a:rPr>
              <a:t>???</a:t>
            </a:r>
            <a:endParaRPr lang="en-US" altLang="zh-CN" b="1">
              <a:solidFill>
                <a:schemeClr val="tx1"/>
              </a:solidFill>
            </a:endParaRPr>
          </a:p>
        </p:txBody>
      </p:sp>
    </p:spTree>
    <p:custDataLst>
      <p:tags r:id="rId7"/>
    </p:custDataLst>
  </p:cSld>
  <p:clrMapOvr>
    <a:masterClrMapping/>
  </p:clrMapOvr>
  <p:transition spd="slow" advClick="0" advTm="3000">
    <p:randomBar dir="vert"/>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MH_Title_1"/>
          <p:cNvSpPr/>
          <p:nvPr>
            <p:custDataLst>
              <p:tags r:id="rId1"/>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25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2"/>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Yu Gothic UI Semibold" panose="020B0700000000000000" charset="-128"/>
              <a:ea typeface="Yu Gothic UI Semibold" panose="020B0700000000000000" charset="-128"/>
            </a:endParaRPr>
          </a:p>
        </p:txBody>
      </p:sp>
      <p:sp>
        <p:nvSpPr>
          <p:cNvPr id="20" name="MH_Other_2"/>
          <p:cNvSpPr/>
          <p:nvPr>
            <p:custDataLst>
              <p:tags r:id="rId3"/>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Yu Gothic UI Semibold" panose="020B0700000000000000" charset="-128"/>
              <a:ea typeface="Yu Gothic UI Semibold" panose="020B0700000000000000" charset="-128"/>
            </a:endParaRPr>
          </a:p>
        </p:txBody>
      </p:sp>
      <p:sp>
        <p:nvSpPr>
          <p:cNvPr id="21" name="MH_Other_3"/>
          <p:cNvSpPr/>
          <p:nvPr>
            <p:custDataLst>
              <p:tags r:id="rId4"/>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Yu Gothic UI Semibold" panose="020B0700000000000000" charset="-128"/>
              <a:ea typeface="Yu Gothic UI Semibold" panose="020B0700000000000000" charset="-128"/>
            </a:endParaRPr>
          </a:p>
        </p:txBody>
      </p:sp>
      <p:sp>
        <p:nvSpPr>
          <p:cNvPr id="22" name="MH_Other_4"/>
          <p:cNvSpPr/>
          <p:nvPr>
            <p:custDataLst>
              <p:tags r:id="rId5"/>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Yu Gothic UI Semibold" panose="020B0700000000000000" charset="-128"/>
              <a:ea typeface="Yu Gothic UI Semibold" panose="020B0700000000000000" charset="-128"/>
            </a:endParaRPr>
          </a:p>
        </p:txBody>
      </p:sp>
      <p:sp>
        <p:nvSpPr>
          <p:cNvPr id="4" name="标题 3"/>
          <p:cNvSpPr>
            <a:spLocks noGrp="1"/>
          </p:cNvSpPr>
          <p:nvPr>
            <p:ph type="title"/>
          </p:nvPr>
        </p:nvSpPr>
        <p:spPr>
          <a:xfrm>
            <a:off x="580390" y="223871"/>
            <a:ext cx="11239500" cy="968375"/>
          </a:xfrm>
        </p:spPr>
        <p:txBody>
          <a:bodyPr/>
          <a:lstStyle/>
          <a:p>
            <a:r>
              <a:rPr lang="en-US" altLang="zh-CN" dirty="0"/>
              <a:t>admin</a:t>
            </a:r>
            <a:r>
              <a:rPr lang="zh-CN" altLang="en-US" dirty="0"/>
              <a:t>后台系统</a:t>
            </a:r>
            <a:r>
              <a:rPr lang="en-US" altLang="zh-CN" dirty="0"/>
              <a:t>:</a:t>
            </a:r>
            <a:endParaRPr lang="en-US" altLang="zh-CN" dirty="0"/>
          </a:p>
        </p:txBody>
      </p:sp>
      <p:pic>
        <p:nvPicPr>
          <p:cNvPr id="3" name="图片 2"/>
          <p:cNvPicPr>
            <a:picLocks noChangeAspect="1"/>
          </p:cNvPicPr>
          <p:nvPr/>
        </p:nvPicPr>
        <p:blipFill>
          <a:blip r:embed="rId6"/>
          <a:stretch>
            <a:fillRect/>
          </a:stretch>
        </p:blipFill>
        <p:spPr>
          <a:xfrm>
            <a:off x="1426210" y="1694180"/>
            <a:ext cx="6047740" cy="3285490"/>
          </a:xfrm>
          <a:prstGeom prst="rect">
            <a:avLst/>
          </a:prstGeom>
        </p:spPr>
      </p:pic>
      <p:sp>
        <p:nvSpPr>
          <p:cNvPr id="5" name=" 228"/>
          <p:cNvSpPr/>
          <p:nvPr/>
        </p:nvSpPr>
        <p:spPr>
          <a:xfrm>
            <a:off x="6707505" y="513080"/>
            <a:ext cx="4251960" cy="1685290"/>
          </a:xfrm>
          <a:prstGeom prst="wedgeRectCallout">
            <a:avLst>
              <a:gd name="adj1" fmla="val -36275"/>
              <a:gd name="adj2" fmla="val 80395"/>
            </a:avLst>
          </a:prstGeom>
          <a:solidFill>
            <a:srgbClr val="5BA78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l" eaLnBrk="1" fontAlgn="auto" hangingPunct="1">
              <a:spcBef>
                <a:spcPts val="0"/>
              </a:spcBef>
              <a:spcAft>
                <a:spcPts val="0"/>
              </a:spcAft>
              <a:defRPr/>
            </a:pPr>
            <a:r>
              <a:rPr lang="zh-CN" altLang="en-US" b="1">
                <a:solidFill>
                  <a:schemeClr val="tx1"/>
                </a:solidFill>
              </a:rPr>
              <a:t>输入</a:t>
            </a:r>
            <a:r>
              <a:rPr lang="en-US" altLang="zh-CN" b="1">
                <a:solidFill>
                  <a:schemeClr val="tx1"/>
                </a:solidFill>
              </a:rPr>
              <a:t>127.0.0.1:8000/admin</a:t>
            </a:r>
            <a:r>
              <a:rPr lang="zh-CN" altLang="en-US" b="1">
                <a:solidFill>
                  <a:schemeClr val="tx1"/>
                </a:solidFill>
              </a:rPr>
              <a:t>之后</a:t>
            </a:r>
            <a:endParaRPr lang="zh-CN" altLang="en-US" b="1">
              <a:solidFill>
                <a:schemeClr val="tx1"/>
              </a:solidFill>
            </a:endParaRPr>
          </a:p>
          <a:p>
            <a:pPr algn="l" eaLnBrk="1" fontAlgn="auto" hangingPunct="1">
              <a:spcBef>
                <a:spcPts val="0"/>
              </a:spcBef>
              <a:spcAft>
                <a:spcPts val="0"/>
              </a:spcAft>
              <a:defRPr/>
            </a:pPr>
            <a:r>
              <a:rPr lang="zh-CN" altLang="en-US" b="1">
                <a:solidFill>
                  <a:schemeClr val="tx1"/>
                </a:solidFill>
              </a:rPr>
              <a:t>你会看到出来这样一个界面</a:t>
            </a:r>
            <a:r>
              <a:rPr lang="en-US" altLang="zh-CN" b="1">
                <a:solidFill>
                  <a:schemeClr val="tx1"/>
                </a:solidFill>
              </a:rPr>
              <a:t>,</a:t>
            </a:r>
            <a:endParaRPr lang="en-US" altLang="zh-CN" b="1">
              <a:solidFill>
                <a:schemeClr val="tx1"/>
              </a:solidFill>
            </a:endParaRPr>
          </a:p>
          <a:p>
            <a:pPr algn="l" eaLnBrk="1" fontAlgn="auto" hangingPunct="1">
              <a:spcBef>
                <a:spcPts val="0"/>
              </a:spcBef>
              <a:spcAft>
                <a:spcPts val="0"/>
              </a:spcAft>
              <a:defRPr/>
            </a:pPr>
            <a:r>
              <a:rPr lang="zh-CN" altLang="en-US" b="1">
                <a:solidFill>
                  <a:schemeClr val="tx1"/>
                </a:solidFill>
              </a:rPr>
              <a:t>让你输入用户名和密码去登录</a:t>
            </a:r>
            <a:r>
              <a:rPr lang="en-US" altLang="zh-CN" b="1">
                <a:solidFill>
                  <a:schemeClr val="tx1"/>
                </a:solidFill>
              </a:rPr>
              <a:t>?</a:t>
            </a:r>
            <a:endParaRPr lang="en-US" altLang="zh-CN" b="1">
              <a:solidFill>
                <a:schemeClr val="tx1"/>
              </a:solidFill>
            </a:endParaRPr>
          </a:p>
          <a:p>
            <a:pPr algn="l" eaLnBrk="1" fontAlgn="auto" hangingPunct="1">
              <a:spcBef>
                <a:spcPts val="0"/>
              </a:spcBef>
              <a:spcAft>
                <a:spcPts val="0"/>
              </a:spcAft>
              <a:defRPr/>
            </a:pPr>
            <a:r>
              <a:rPr lang="zh-CN" altLang="en-US" b="1">
                <a:solidFill>
                  <a:schemeClr val="tx1"/>
                </a:solidFill>
              </a:rPr>
              <a:t>那么用户名和密码从哪里来</a:t>
            </a:r>
            <a:r>
              <a:rPr lang="en-US" altLang="zh-CN" b="1">
                <a:solidFill>
                  <a:schemeClr val="tx1"/>
                </a:solidFill>
              </a:rPr>
              <a:t>,</a:t>
            </a:r>
            <a:r>
              <a:rPr lang="zh-CN" altLang="en-US" b="1">
                <a:solidFill>
                  <a:schemeClr val="tx1"/>
                </a:solidFill>
              </a:rPr>
              <a:t>登录之后又是什么样的呢</a:t>
            </a:r>
            <a:r>
              <a:rPr lang="en-US" altLang="zh-CN" b="1">
                <a:solidFill>
                  <a:schemeClr val="tx1"/>
                </a:solidFill>
              </a:rPr>
              <a:t>?</a:t>
            </a:r>
            <a:endParaRPr lang="en-US" altLang="zh-CN" b="1">
              <a:solidFill>
                <a:schemeClr val="tx1"/>
              </a:solidFill>
            </a:endParaRPr>
          </a:p>
        </p:txBody>
      </p:sp>
    </p:spTree>
    <p:custDataLst>
      <p:tags r:id="rId7"/>
    </p:custDataLst>
  </p:cSld>
  <p:clrMapOvr>
    <a:masterClrMapping/>
  </p:clrMapOvr>
  <p:transition spd="slow" advClick="0" advTm="3000">
    <p:randomBar dir="vert"/>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MH_Title_1"/>
          <p:cNvSpPr/>
          <p:nvPr>
            <p:custDataLst>
              <p:tags r:id="rId1"/>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25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2"/>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Yu Gothic UI Semibold" panose="020B0700000000000000" charset="-128"/>
              <a:ea typeface="Yu Gothic UI Semibold" panose="020B0700000000000000" charset="-128"/>
            </a:endParaRPr>
          </a:p>
        </p:txBody>
      </p:sp>
      <p:sp>
        <p:nvSpPr>
          <p:cNvPr id="20" name="MH_Other_2"/>
          <p:cNvSpPr/>
          <p:nvPr>
            <p:custDataLst>
              <p:tags r:id="rId3"/>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Yu Gothic UI Semibold" panose="020B0700000000000000" charset="-128"/>
              <a:ea typeface="Yu Gothic UI Semibold" panose="020B0700000000000000" charset="-128"/>
            </a:endParaRPr>
          </a:p>
        </p:txBody>
      </p:sp>
      <p:sp>
        <p:nvSpPr>
          <p:cNvPr id="21" name="MH_Other_3"/>
          <p:cNvSpPr/>
          <p:nvPr>
            <p:custDataLst>
              <p:tags r:id="rId4"/>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Yu Gothic UI Semibold" panose="020B0700000000000000" charset="-128"/>
              <a:ea typeface="Yu Gothic UI Semibold" panose="020B0700000000000000" charset="-128"/>
            </a:endParaRPr>
          </a:p>
        </p:txBody>
      </p:sp>
      <p:sp>
        <p:nvSpPr>
          <p:cNvPr id="22" name="MH_Other_4"/>
          <p:cNvSpPr/>
          <p:nvPr>
            <p:custDataLst>
              <p:tags r:id="rId5"/>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Yu Gothic UI Semibold" panose="020B0700000000000000" charset="-128"/>
              <a:ea typeface="Yu Gothic UI Semibold" panose="020B0700000000000000" charset="-128"/>
            </a:endParaRPr>
          </a:p>
        </p:txBody>
      </p:sp>
      <p:sp>
        <p:nvSpPr>
          <p:cNvPr id="4" name="标题 3"/>
          <p:cNvSpPr>
            <a:spLocks noGrp="1"/>
          </p:cNvSpPr>
          <p:nvPr>
            <p:ph type="title"/>
          </p:nvPr>
        </p:nvSpPr>
        <p:spPr>
          <a:xfrm>
            <a:off x="580390" y="223871"/>
            <a:ext cx="11239500" cy="968375"/>
          </a:xfrm>
        </p:spPr>
        <p:txBody>
          <a:bodyPr/>
          <a:lstStyle/>
          <a:p>
            <a:r>
              <a:rPr dirty="0"/>
              <a:t>介绍 Django 管理页面</a:t>
            </a:r>
            <a:r>
              <a:rPr lang="en-US" altLang="zh-CN" dirty="0"/>
              <a:t>:</a:t>
            </a:r>
            <a:endParaRPr lang="en-US" altLang="zh-CN" dirty="0"/>
          </a:p>
        </p:txBody>
      </p:sp>
      <p:sp>
        <p:nvSpPr>
          <p:cNvPr id="17" name="圆角矩形 16"/>
          <p:cNvSpPr/>
          <p:nvPr/>
        </p:nvSpPr>
        <p:spPr>
          <a:xfrm>
            <a:off x="2219960" y="913130"/>
            <a:ext cx="7958455" cy="5351145"/>
          </a:xfrm>
          <a:prstGeom prst="roundRect">
            <a:avLst/>
          </a:prstGeom>
          <a:solidFill>
            <a:srgbClr val="3F5361"/>
          </a:solidFill>
          <a:ln>
            <a:solidFill>
              <a:srgbClr val="8D86B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685165" rtl="0" eaLnBrk="1" latinLnBrk="0" hangingPunct="1">
              <a:defRPr sz="1350" kern="1200">
                <a:solidFill>
                  <a:schemeClr val="lt1"/>
                </a:solidFill>
                <a:latin typeface="+mn-lt"/>
                <a:ea typeface="+mn-ea"/>
                <a:cs typeface="+mn-cs"/>
              </a:defRPr>
            </a:lvl1pPr>
            <a:lvl2pPr marL="342900" algn="l" defTabSz="685165" rtl="0" eaLnBrk="1" latinLnBrk="0" hangingPunct="1">
              <a:defRPr sz="1350" kern="1200">
                <a:solidFill>
                  <a:schemeClr val="lt1"/>
                </a:solidFill>
                <a:latin typeface="+mn-lt"/>
                <a:ea typeface="+mn-ea"/>
                <a:cs typeface="+mn-cs"/>
              </a:defRPr>
            </a:lvl2pPr>
            <a:lvl3pPr marL="685800" algn="l" defTabSz="685165" rtl="0" eaLnBrk="1" latinLnBrk="0" hangingPunct="1">
              <a:defRPr sz="1350" kern="1200">
                <a:solidFill>
                  <a:schemeClr val="lt1"/>
                </a:solidFill>
                <a:latin typeface="+mn-lt"/>
                <a:ea typeface="+mn-ea"/>
                <a:cs typeface="+mn-cs"/>
              </a:defRPr>
            </a:lvl3pPr>
            <a:lvl4pPr marL="1028700" algn="l" defTabSz="685165" rtl="0" eaLnBrk="1" latinLnBrk="0" hangingPunct="1">
              <a:defRPr sz="1350" kern="1200">
                <a:solidFill>
                  <a:schemeClr val="lt1"/>
                </a:solidFill>
                <a:latin typeface="+mn-lt"/>
                <a:ea typeface="+mn-ea"/>
                <a:cs typeface="+mn-cs"/>
              </a:defRPr>
            </a:lvl4pPr>
            <a:lvl5pPr marL="1371600" algn="l" defTabSz="685165" rtl="0" eaLnBrk="1" latinLnBrk="0" hangingPunct="1">
              <a:defRPr sz="1350" kern="1200">
                <a:solidFill>
                  <a:schemeClr val="lt1"/>
                </a:solidFill>
                <a:latin typeface="+mn-lt"/>
                <a:ea typeface="+mn-ea"/>
                <a:cs typeface="+mn-cs"/>
              </a:defRPr>
            </a:lvl5pPr>
            <a:lvl6pPr marL="1714500" algn="l" defTabSz="685165" rtl="0" eaLnBrk="1" latinLnBrk="0" hangingPunct="1">
              <a:defRPr sz="1350" kern="1200">
                <a:solidFill>
                  <a:schemeClr val="lt1"/>
                </a:solidFill>
                <a:latin typeface="+mn-lt"/>
                <a:ea typeface="+mn-ea"/>
                <a:cs typeface="+mn-cs"/>
              </a:defRPr>
            </a:lvl6pPr>
            <a:lvl7pPr marL="2057400" algn="l" defTabSz="685165" rtl="0" eaLnBrk="1" latinLnBrk="0" hangingPunct="1">
              <a:defRPr sz="1350" kern="1200">
                <a:solidFill>
                  <a:schemeClr val="lt1"/>
                </a:solidFill>
                <a:latin typeface="+mn-lt"/>
                <a:ea typeface="+mn-ea"/>
                <a:cs typeface="+mn-cs"/>
              </a:defRPr>
            </a:lvl7pPr>
            <a:lvl8pPr marL="2400300" algn="l" defTabSz="685165" rtl="0" eaLnBrk="1" latinLnBrk="0" hangingPunct="1">
              <a:defRPr sz="1350" kern="1200">
                <a:solidFill>
                  <a:schemeClr val="lt1"/>
                </a:solidFill>
                <a:latin typeface="+mn-lt"/>
                <a:ea typeface="+mn-ea"/>
                <a:cs typeface="+mn-cs"/>
              </a:defRPr>
            </a:lvl8pPr>
            <a:lvl9pPr marL="2743200" algn="l" defTabSz="685165" rtl="0" eaLnBrk="1" latinLnBrk="0" hangingPunct="1">
              <a:defRPr sz="1350" kern="1200">
                <a:solidFill>
                  <a:schemeClr val="lt1"/>
                </a:solidFill>
                <a:latin typeface="+mn-lt"/>
                <a:ea typeface="+mn-ea"/>
                <a:cs typeface="+mn-cs"/>
              </a:defRPr>
            </a:lvl9pPr>
          </a:lstStyle>
          <a:p>
            <a:pPr algn="l" defTabSz="913765" fontAlgn="auto">
              <a:lnSpc>
                <a:spcPct val="150000"/>
              </a:lnSpc>
              <a:defRPr/>
            </a:pPr>
            <a:r>
              <a:rPr sz="20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为你的员工或客户生成一个用户添加，修改和删除内容的后台是一项缺乏创造性和乏味的工作。因此，Django 全自动地根据模型创建后台界面。</a:t>
            </a:r>
            <a:endParaRPr sz="20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endParaRPr>
          </a:p>
          <a:p>
            <a:pPr algn="l" defTabSz="913765" fontAlgn="auto">
              <a:lnSpc>
                <a:spcPct val="150000"/>
              </a:lnSpc>
              <a:defRPr/>
            </a:pPr>
            <a:endParaRPr sz="20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endParaRPr>
          </a:p>
          <a:p>
            <a:pPr algn="l" defTabSz="913765" fontAlgn="auto">
              <a:lnSpc>
                <a:spcPct val="150000"/>
              </a:lnSpc>
              <a:defRPr/>
            </a:pPr>
            <a:r>
              <a:rPr sz="20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Django 产生于一个公众页面和内容发布者页面完全分离的新闻类站点的开发过程中。站点管理人员使用管理系统来添加新闻、事件和体育时讯等，这些添加的内容被显示在公众页面上。Django 通过为站点管理人员创建统一的内容编辑界面解决了这个问题。</a:t>
            </a:r>
            <a:endParaRPr sz="20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endParaRPr>
          </a:p>
          <a:p>
            <a:pPr algn="l" defTabSz="913765" fontAlgn="auto">
              <a:lnSpc>
                <a:spcPct val="150000"/>
              </a:lnSpc>
              <a:defRPr/>
            </a:pPr>
            <a:r>
              <a:rPr sz="20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管理界面不是为了网站的访问者，而是为管理者准备的。</a:t>
            </a:r>
            <a:endParaRPr sz="20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endParaRPr>
          </a:p>
        </p:txBody>
      </p:sp>
    </p:spTree>
    <p:custDataLst>
      <p:tags r:id="rId6"/>
    </p:custDataLst>
  </p:cSld>
  <p:clrMapOvr>
    <a:masterClrMapping/>
  </p:clrMapOvr>
  <p:transition spd="slow" advClick="0" advTm="3000">
    <p:randomBar dir="vert"/>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546735" y="276576"/>
            <a:ext cx="11239500" cy="968375"/>
          </a:xfrm>
        </p:spPr>
        <p:txBody>
          <a:bodyPr/>
          <a:lstStyle/>
          <a:p>
            <a:r>
              <a:rPr lang="zh-CN" altLang="en-US" dirty="0"/>
              <a:t>知识回顾</a:t>
            </a:r>
            <a:r>
              <a:rPr lang="en-US" altLang="zh-CN" dirty="0"/>
              <a:t>:</a:t>
            </a:r>
            <a:endParaRPr lang="en-US" altLang="zh-CN" dirty="0"/>
          </a:p>
        </p:txBody>
      </p:sp>
      <p:grpSp>
        <p:nvGrpSpPr>
          <p:cNvPr id="14" name="Group 7"/>
          <p:cNvGrpSpPr/>
          <p:nvPr/>
        </p:nvGrpSpPr>
        <p:grpSpPr bwMode="auto">
          <a:xfrm>
            <a:off x="546832" y="1747207"/>
            <a:ext cx="2176463" cy="2198688"/>
            <a:chOff x="567" y="754"/>
            <a:chExt cx="1371" cy="1385"/>
          </a:xfrm>
          <a:solidFill>
            <a:schemeClr val="accent1"/>
          </a:solidFill>
        </p:grpSpPr>
        <p:sp>
          <p:nvSpPr>
            <p:cNvPr id="16" name="Freeform 8"/>
            <p:cNvSpPr/>
            <p:nvPr/>
          </p:nvSpPr>
          <p:spPr bwMode="auto">
            <a:xfrm>
              <a:off x="1202" y="754"/>
              <a:ext cx="736" cy="1383"/>
            </a:xfrm>
            <a:custGeom>
              <a:avLst/>
              <a:gdLst>
                <a:gd name="T0" fmla="*/ 263 w 736"/>
                <a:gd name="T1" fmla="*/ 1259 h 1383"/>
                <a:gd name="T2" fmla="*/ 604 w 736"/>
                <a:gd name="T3" fmla="*/ 1102 h 1383"/>
                <a:gd name="T4" fmla="*/ 736 w 736"/>
                <a:gd name="T5" fmla="*/ 763 h 1383"/>
                <a:gd name="T6" fmla="*/ 736 w 736"/>
                <a:gd name="T7" fmla="*/ 740 h 1383"/>
                <a:gd name="T8" fmla="*/ 736 w 736"/>
                <a:gd name="T9" fmla="*/ 720 h 1383"/>
                <a:gd name="T10" fmla="*/ 736 w 736"/>
                <a:gd name="T11" fmla="*/ 688 h 1383"/>
                <a:gd name="T12" fmla="*/ 736 w 736"/>
                <a:gd name="T13" fmla="*/ 668 h 1383"/>
                <a:gd name="T14" fmla="*/ 736 w 736"/>
                <a:gd name="T15" fmla="*/ 630 h 1383"/>
                <a:gd name="T16" fmla="*/ 519 w 736"/>
                <a:gd name="T17" fmla="*/ 301 h 1383"/>
                <a:gd name="T18" fmla="*/ 136 w 736"/>
                <a:gd name="T19" fmla="*/ 87 h 1383"/>
                <a:gd name="T20" fmla="*/ 48 w 736"/>
                <a:gd name="T21" fmla="*/ 192 h 1383"/>
                <a:gd name="T22" fmla="*/ 73 w 736"/>
                <a:gd name="T23" fmla="*/ 192 h 1383"/>
                <a:gd name="T24" fmla="*/ 100 w 736"/>
                <a:gd name="T25" fmla="*/ 195 h 1383"/>
                <a:gd name="T26" fmla="*/ 126 w 736"/>
                <a:gd name="T27" fmla="*/ 199 h 1383"/>
                <a:gd name="T28" fmla="*/ 158 w 736"/>
                <a:gd name="T29" fmla="*/ 207 h 1383"/>
                <a:gd name="T30" fmla="*/ 192 w 736"/>
                <a:gd name="T31" fmla="*/ 215 h 1383"/>
                <a:gd name="T32" fmla="*/ 228 w 736"/>
                <a:gd name="T33" fmla="*/ 227 h 1383"/>
                <a:gd name="T34" fmla="*/ 263 w 736"/>
                <a:gd name="T35" fmla="*/ 242 h 1383"/>
                <a:gd name="T36" fmla="*/ 302 w 736"/>
                <a:gd name="T37" fmla="*/ 262 h 1383"/>
                <a:gd name="T38" fmla="*/ 337 w 736"/>
                <a:gd name="T39" fmla="*/ 286 h 1383"/>
                <a:gd name="T40" fmla="*/ 370 w 736"/>
                <a:gd name="T41" fmla="*/ 314 h 1383"/>
                <a:gd name="T42" fmla="*/ 402 w 736"/>
                <a:gd name="T43" fmla="*/ 346 h 1383"/>
                <a:gd name="T44" fmla="*/ 429 w 736"/>
                <a:gd name="T45" fmla="*/ 371 h 1383"/>
                <a:gd name="T46" fmla="*/ 450 w 736"/>
                <a:gd name="T47" fmla="*/ 397 h 1383"/>
                <a:gd name="T48" fmla="*/ 470 w 736"/>
                <a:gd name="T49" fmla="*/ 426 h 1383"/>
                <a:gd name="T50" fmla="*/ 485 w 736"/>
                <a:gd name="T51" fmla="*/ 454 h 1383"/>
                <a:gd name="T52" fmla="*/ 500 w 736"/>
                <a:gd name="T53" fmla="*/ 484 h 1383"/>
                <a:gd name="T54" fmla="*/ 514 w 736"/>
                <a:gd name="T55" fmla="*/ 516 h 1383"/>
                <a:gd name="T56" fmla="*/ 522 w 736"/>
                <a:gd name="T57" fmla="*/ 544 h 1383"/>
                <a:gd name="T58" fmla="*/ 530 w 736"/>
                <a:gd name="T59" fmla="*/ 574 h 1383"/>
                <a:gd name="T60" fmla="*/ 537 w 736"/>
                <a:gd name="T61" fmla="*/ 603 h 1383"/>
                <a:gd name="T62" fmla="*/ 540 w 736"/>
                <a:gd name="T63" fmla="*/ 630 h 1383"/>
                <a:gd name="T64" fmla="*/ 544 w 736"/>
                <a:gd name="T65" fmla="*/ 656 h 1383"/>
                <a:gd name="T66" fmla="*/ 545 w 736"/>
                <a:gd name="T67" fmla="*/ 681 h 1383"/>
                <a:gd name="T68" fmla="*/ 547 w 736"/>
                <a:gd name="T69" fmla="*/ 703 h 1383"/>
                <a:gd name="T70" fmla="*/ 544 w 736"/>
                <a:gd name="T71" fmla="*/ 733 h 1383"/>
                <a:gd name="T72" fmla="*/ 540 w 736"/>
                <a:gd name="T73" fmla="*/ 756 h 1383"/>
                <a:gd name="T74" fmla="*/ 535 w 736"/>
                <a:gd name="T75" fmla="*/ 781 h 1383"/>
                <a:gd name="T76" fmla="*/ 529 w 736"/>
                <a:gd name="T77" fmla="*/ 812 h 1383"/>
                <a:gd name="T78" fmla="*/ 520 w 736"/>
                <a:gd name="T79" fmla="*/ 842 h 1383"/>
                <a:gd name="T80" fmla="*/ 509 w 736"/>
                <a:gd name="T81" fmla="*/ 875 h 1383"/>
                <a:gd name="T82" fmla="*/ 494 w 736"/>
                <a:gd name="T83" fmla="*/ 907 h 1383"/>
                <a:gd name="T84" fmla="*/ 479 w 736"/>
                <a:gd name="T85" fmla="*/ 942 h 1383"/>
                <a:gd name="T86" fmla="*/ 457 w 736"/>
                <a:gd name="T87" fmla="*/ 973 h 1383"/>
                <a:gd name="T88" fmla="*/ 434 w 736"/>
                <a:gd name="T89" fmla="*/ 1005 h 1383"/>
                <a:gd name="T90" fmla="*/ 405 w 736"/>
                <a:gd name="T91" fmla="*/ 1035 h 1383"/>
                <a:gd name="T92" fmla="*/ 387 w 736"/>
                <a:gd name="T93" fmla="*/ 1054 h 1383"/>
                <a:gd name="T94" fmla="*/ 355 w 736"/>
                <a:gd name="T95" fmla="*/ 1079 h 1383"/>
                <a:gd name="T96" fmla="*/ 330 w 736"/>
                <a:gd name="T97" fmla="*/ 1099 h 1383"/>
                <a:gd name="T98" fmla="*/ 303 w 736"/>
                <a:gd name="T99" fmla="*/ 1115 h 1383"/>
                <a:gd name="T100" fmla="*/ 273 w 736"/>
                <a:gd name="T101" fmla="*/ 1132 h 1383"/>
                <a:gd name="T102" fmla="*/ 238 w 736"/>
                <a:gd name="T103" fmla="*/ 1149 h 1383"/>
                <a:gd name="T104" fmla="*/ 200 w 736"/>
                <a:gd name="T105" fmla="*/ 1164 h 1383"/>
                <a:gd name="T106" fmla="*/ 155 w 736"/>
                <a:gd name="T107" fmla="*/ 1174 h 1383"/>
                <a:gd name="T108" fmla="*/ 106 w 736"/>
                <a:gd name="T109" fmla="*/ 1184 h 1383"/>
                <a:gd name="T110" fmla="*/ 55 w 736"/>
                <a:gd name="T111" fmla="*/ 1189 h 138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36"/>
                <a:gd name="T169" fmla="*/ 0 h 1383"/>
                <a:gd name="T170" fmla="*/ 736 w 736"/>
                <a:gd name="T171" fmla="*/ 1383 h 138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36" h="1383">
                  <a:moveTo>
                    <a:pt x="45" y="1189"/>
                  </a:moveTo>
                  <a:lnTo>
                    <a:pt x="48" y="1383"/>
                  </a:lnTo>
                  <a:lnTo>
                    <a:pt x="110" y="1381"/>
                  </a:lnTo>
                  <a:lnTo>
                    <a:pt x="135" y="1296"/>
                  </a:lnTo>
                  <a:lnTo>
                    <a:pt x="263" y="1259"/>
                  </a:lnTo>
                  <a:lnTo>
                    <a:pt x="348" y="1317"/>
                  </a:lnTo>
                  <a:lnTo>
                    <a:pt x="442" y="1261"/>
                  </a:lnTo>
                  <a:lnTo>
                    <a:pt x="439" y="1162"/>
                  </a:lnTo>
                  <a:lnTo>
                    <a:pt x="509" y="1089"/>
                  </a:lnTo>
                  <a:lnTo>
                    <a:pt x="604" y="1102"/>
                  </a:lnTo>
                  <a:lnTo>
                    <a:pt x="671" y="997"/>
                  </a:lnTo>
                  <a:lnTo>
                    <a:pt x="614" y="915"/>
                  </a:lnTo>
                  <a:lnTo>
                    <a:pt x="652" y="781"/>
                  </a:lnTo>
                  <a:lnTo>
                    <a:pt x="736" y="768"/>
                  </a:lnTo>
                  <a:lnTo>
                    <a:pt x="736" y="763"/>
                  </a:lnTo>
                  <a:lnTo>
                    <a:pt x="736" y="758"/>
                  </a:lnTo>
                  <a:lnTo>
                    <a:pt x="736" y="755"/>
                  </a:lnTo>
                  <a:lnTo>
                    <a:pt x="736" y="750"/>
                  </a:lnTo>
                  <a:lnTo>
                    <a:pt x="736" y="745"/>
                  </a:lnTo>
                  <a:lnTo>
                    <a:pt x="736" y="740"/>
                  </a:lnTo>
                  <a:lnTo>
                    <a:pt x="736" y="736"/>
                  </a:lnTo>
                  <a:lnTo>
                    <a:pt x="736" y="733"/>
                  </a:lnTo>
                  <a:lnTo>
                    <a:pt x="736" y="728"/>
                  </a:lnTo>
                  <a:lnTo>
                    <a:pt x="736" y="723"/>
                  </a:lnTo>
                  <a:lnTo>
                    <a:pt x="736" y="720"/>
                  </a:lnTo>
                  <a:lnTo>
                    <a:pt x="736" y="715"/>
                  </a:lnTo>
                  <a:lnTo>
                    <a:pt x="736" y="706"/>
                  </a:lnTo>
                  <a:lnTo>
                    <a:pt x="736" y="698"/>
                  </a:lnTo>
                  <a:lnTo>
                    <a:pt x="736" y="693"/>
                  </a:lnTo>
                  <a:lnTo>
                    <a:pt x="736" y="688"/>
                  </a:lnTo>
                  <a:lnTo>
                    <a:pt x="736" y="685"/>
                  </a:lnTo>
                  <a:lnTo>
                    <a:pt x="736" y="681"/>
                  </a:lnTo>
                  <a:lnTo>
                    <a:pt x="736" y="676"/>
                  </a:lnTo>
                  <a:lnTo>
                    <a:pt x="736" y="671"/>
                  </a:lnTo>
                  <a:lnTo>
                    <a:pt x="736" y="668"/>
                  </a:lnTo>
                  <a:lnTo>
                    <a:pt x="736" y="663"/>
                  </a:lnTo>
                  <a:lnTo>
                    <a:pt x="736" y="655"/>
                  </a:lnTo>
                  <a:lnTo>
                    <a:pt x="736" y="646"/>
                  </a:lnTo>
                  <a:lnTo>
                    <a:pt x="736" y="638"/>
                  </a:lnTo>
                  <a:lnTo>
                    <a:pt x="736" y="630"/>
                  </a:lnTo>
                  <a:lnTo>
                    <a:pt x="651" y="604"/>
                  </a:lnTo>
                  <a:lnTo>
                    <a:pt x="614" y="476"/>
                  </a:lnTo>
                  <a:lnTo>
                    <a:pt x="672" y="391"/>
                  </a:lnTo>
                  <a:lnTo>
                    <a:pt x="617" y="296"/>
                  </a:lnTo>
                  <a:lnTo>
                    <a:pt x="519" y="301"/>
                  </a:lnTo>
                  <a:lnTo>
                    <a:pt x="445" y="230"/>
                  </a:lnTo>
                  <a:lnTo>
                    <a:pt x="457" y="134"/>
                  </a:lnTo>
                  <a:lnTo>
                    <a:pt x="352" y="67"/>
                  </a:lnTo>
                  <a:lnTo>
                    <a:pt x="272" y="125"/>
                  </a:lnTo>
                  <a:lnTo>
                    <a:pt x="136" y="87"/>
                  </a:lnTo>
                  <a:lnTo>
                    <a:pt x="123" y="3"/>
                  </a:lnTo>
                  <a:lnTo>
                    <a:pt x="43" y="0"/>
                  </a:lnTo>
                  <a:lnTo>
                    <a:pt x="0" y="89"/>
                  </a:lnTo>
                  <a:lnTo>
                    <a:pt x="46" y="192"/>
                  </a:lnTo>
                  <a:lnTo>
                    <a:pt x="48" y="192"/>
                  </a:lnTo>
                  <a:lnTo>
                    <a:pt x="51" y="192"/>
                  </a:lnTo>
                  <a:lnTo>
                    <a:pt x="55" y="192"/>
                  </a:lnTo>
                  <a:lnTo>
                    <a:pt x="60" y="192"/>
                  </a:lnTo>
                  <a:lnTo>
                    <a:pt x="66" y="192"/>
                  </a:lnTo>
                  <a:lnTo>
                    <a:pt x="73" y="192"/>
                  </a:lnTo>
                  <a:lnTo>
                    <a:pt x="81" y="194"/>
                  </a:lnTo>
                  <a:lnTo>
                    <a:pt x="86" y="194"/>
                  </a:lnTo>
                  <a:lnTo>
                    <a:pt x="90" y="194"/>
                  </a:lnTo>
                  <a:lnTo>
                    <a:pt x="95" y="194"/>
                  </a:lnTo>
                  <a:lnTo>
                    <a:pt x="100" y="195"/>
                  </a:lnTo>
                  <a:lnTo>
                    <a:pt x="105" y="195"/>
                  </a:lnTo>
                  <a:lnTo>
                    <a:pt x="110" y="197"/>
                  </a:lnTo>
                  <a:lnTo>
                    <a:pt x="116" y="197"/>
                  </a:lnTo>
                  <a:lnTo>
                    <a:pt x="121" y="199"/>
                  </a:lnTo>
                  <a:lnTo>
                    <a:pt x="126" y="199"/>
                  </a:lnTo>
                  <a:lnTo>
                    <a:pt x="133" y="200"/>
                  </a:lnTo>
                  <a:lnTo>
                    <a:pt x="138" y="202"/>
                  </a:lnTo>
                  <a:lnTo>
                    <a:pt x="147" y="204"/>
                  </a:lnTo>
                  <a:lnTo>
                    <a:pt x="152" y="205"/>
                  </a:lnTo>
                  <a:lnTo>
                    <a:pt x="158" y="207"/>
                  </a:lnTo>
                  <a:lnTo>
                    <a:pt x="165" y="209"/>
                  </a:lnTo>
                  <a:lnTo>
                    <a:pt x="172" y="210"/>
                  </a:lnTo>
                  <a:lnTo>
                    <a:pt x="178" y="210"/>
                  </a:lnTo>
                  <a:lnTo>
                    <a:pt x="185" y="212"/>
                  </a:lnTo>
                  <a:lnTo>
                    <a:pt x="192" y="215"/>
                  </a:lnTo>
                  <a:lnTo>
                    <a:pt x="200" y="217"/>
                  </a:lnTo>
                  <a:lnTo>
                    <a:pt x="207" y="219"/>
                  </a:lnTo>
                  <a:lnTo>
                    <a:pt x="213" y="222"/>
                  </a:lnTo>
                  <a:lnTo>
                    <a:pt x="220" y="224"/>
                  </a:lnTo>
                  <a:lnTo>
                    <a:pt x="228" y="227"/>
                  </a:lnTo>
                  <a:lnTo>
                    <a:pt x="235" y="229"/>
                  </a:lnTo>
                  <a:lnTo>
                    <a:pt x="242" y="232"/>
                  </a:lnTo>
                  <a:lnTo>
                    <a:pt x="250" y="235"/>
                  </a:lnTo>
                  <a:lnTo>
                    <a:pt x="257" y="239"/>
                  </a:lnTo>
                  <a:lnTo>
                    <a:pt x="263" y="242"/>
                  </a:lnTo>
                  <a:lnTo>
                    <a:pt x="272" y="246"/>
                  </a:lnTo>
                  <a:lnTo>
                    <a:pt x="278" y="249"/>
                  </a:lnTo>
                  <a:lnTo>
                    <a:pt x="287" y="254"/>
                  </a:lnTo>
                  <a:lnTo>
                    <a:pt x="293" y="257"/>
                  </a:lnTo>
                  <a:lnTo>
                    <a:pt x="302" y="262"/>
                  </a:lnTo>
                  <a:lnTo>
                    <a:pt x="308" y="266"/>
                  </a:lnTo>
                  <a:lnTo>
                    <a:pt x="315" y="271"/>
                  </a:lnTo>
                  <a:lnTo>
                    <a:pt x="322" y="276"/>
                  </a:lnTo>
                  <a:lnTo>
                    <a:pt x="330" y="279"/>
                  </a:lnTo>
                  <a:lnTo>
                    <a:pt x="337" y="286"/>
                  </a:lnTo>
                  <a:lnTo>
                    <a:pt x="343" y="291"/>
                  </a:lnTo>
                  <a:lnTo>
                    <a:pt x="350" y="296"/>
                  </a:lnTo>
                  <a:lnTo>
                    <a:pt x="357" y="301"/>
                  </a:lnTo>
                  <a:lnTo>
                    <a:pt x="364" y="307"/>
                  </a:lnTo>
                  <a:lnTo>
                    <a:pt x="370" y="314"/>
                  </a:lnTo>
                  <a:lnTo>
                    <a:pt x="377" y="319"/>
                  </a:lnTo>
                  <a:lnTo>
                    <a:pt x="384" y="326"/>
                  </a:lnTo>
                  <a:lnTo>
                    <a:pt x="390" y="332"/>
                  </a:lnTo>
                  <a:lnTo>
                    <a:pt x="397" y="341"/>
                  </a:lnTo>
                  <a:lnTo>
                    <a:pt x="402" y="346"/>
                  </a:lnTo>
                  <a:lnTo>
                    <a:pt x="407" y="349"/>
                  </a:lnTo>
                  <a:lnTo>
                    <a:pt x="414" y="354"/>
                  </a:lnTo>
                  <a:lnTo>
                    <a:pt x="419" y="361"/>
                  </a:lnTo>
                  <a:lnTo>
                    <a:pt x="424" y="364"/>
                  </a:lnTo>
                  <a:lnTo>
                    <a:pt x="429" y="371"/>
                  </a:lnTo>
                  <a:lnTo>
                    <a:pt x="434" y="376"/>
                  </a:lnTo>
                  <a:lnTo>
                    <a:pt x="439" y="381"/>
                  </a:lnTo>
                  <a:lnTo>
                    <a:pt x="442" y="386"/>
                  </a:lnTo>
                  <a:lnTo>
                    <a:pt x="445" y="392"/>
                  </a:lnTo>
                  <a:lnTo>
                    <a:pt x="450" y="397"/>
                  </a:lnTo>
                  <a:lnTo>
                    <a:pt x="455" y="402"/>
                  </a:lnTo>
                  <a:lnTo>
                    <a:pt x="459" y="409"/>
                  </a:lnTo>
                  <a:lnTo>
                    <a:pt x="462" y="414"/>
                  </a:lnTo>
                  <a:lnTo>
                    <a:pt x="467" y="419"/>
                  </a:lnTo>
                  <a:lnTo>
                    <a:pt x="470" y="426"/>
                  </a:lnTo>
                  <a:lnTo>
                    <a:pt x="474" y="431"/>
                  </a:lnTo>
                  <a:lnTo>
                    <a:pt x="477" y="438"/>
                  </a:lnTo>
                  <a:lnTo>
                    <a:pt x="480" y="443"/>
                  </a:lnTo>
                  <a:lnTo>
                    <a:pt x="484" y="449"/>
                  </a:lnTo>
                  <a:lnTo>
                    <a:pt x="485" y="454"/>
                  </a:lnTo>
                  <a:lnTo>
                    <a:pt x="489" y="461"/>
                  </a:lnTo>
                  <a:lnTo>
                    <a:pt x="492" y="466"/>
                  </a:lnTo>
                  <a:lnTo>
                    <a:pt x="495" y="473"/>
                  </a:lnTo>
                  <a:lnTo>
                    <a:pt x="499" y="479"/>
                  </a:lnTo>
                  <a:lnTo>
                    <a:pt x="500" y="484"/>
                  </a:lnTo>
                  <a:lnTo>
                    <a:pt x="504" y="491"/>
                  </a:lnTo>
                  <a:lnTo>
                    <a:pt x="505" y="498"/>
                  </a:lnTo>
                  <a:lnTo>
                    <a:pt x="509" y="503"/>
                  </a:lnTo>
                  <a:lnTo>
                    <a:pt x="510" y="509"/>
                  </a:lnTo>
                  <a:lnTo>
                    <a:pt x="514" y="516"/>
                  </a:lnTo>
                  <a:lnTo>
                    <a:pt x="515" y="521"/>
                  </a:lnTo>
                  <a:lnTo>
                    <a:pt x="517" y="528"/>
                  </a:lnTo>
                  <a:lnTo>
                    <a:pt x="519" y="533"/>
                  </a:lnTo>
                  <a:lnTo>
                    <a:pt x="520" y="538"/>
                  </a:lnTo>
                  <a:lnTo>
                    <a:pt x="522" y="544"/>
                  </a:lnTo>
                  <a:lnTo>
                    <a:pt x="524" y="551"/>
                  </a:lnTo>
                  <a:lnTo>
                    <a:pt x="525" y="556"/>
                  </a:lnTo>
                  <a:lnTo>
                    <a:pt x="527" y="563"/>
                  </a:lnTo>
                  <a:lnTo>
                    <a:pt x="529" y="569"/>
                  </a:lnTo>
                  <a:lnTo>
                    <a:pt x="530" y="574"/>
                  </a:lnTo>
                  <a:lnTo>
                    <a:pt x="532" y="579"/>
                  </a:lnTo>
                  <a:lnTo>
                    <a:pt x="532" y="586"/>
                  </a:lnTo>
                  <a:lnTo>
                    <a:pt x="534" y="591"/>
                  </a:lnTo>
                  <a:lnTo>
                    <a:pt x="535" y="598"/>
                  </a:lnTo>
                  <a:lnTo>
                    <a:pt x="537" y="603"/>
                  </a:lnTo>
                  <a:lnTo>
                    <a:pt x="537" y="608"/>
                  </a:lnTo>
                  <a:lnTo>
                    <a:pt x="539" y="615"/>
                  </a:lnTo>
                  <a:lnTo>
                    <a:pt x="539" y="620"/>
                  </a:lnTo>
                  <a:lnTo>
                    <a:pt x="539" y="625"/>
                  </a:lnTo>
                  <a:lnTo>
                    <a:pt x="540" y="630"/>
                  </a:lnTo>
                  <a:lnTo>
                    <a:pt x="540" y="636"/>
                  </a:lnTo>
                  <a:lnTo>
                    <a:pt x="542" y="640"/>
                  </a:lnTo>
                  <a:lnTo>
                    <a:pt x="542" y="646"/>
                  </a:lnTo>
                  <a:lnTo>
                    <a:pt x="544" y="651"/>
                  </a:lnTo>
                  <a:lnTo>
                    <a:pt x="544" y="656"/>
                  </a:lnTo>
                  <a:lnTo>
                    <a:pt x="544" y="661"/>
                  </a:lnTo>
                  <a:lnTo>
                    <a:pt x="545" y="666"/>
                  </a:lnTo>
                  <a:lnTo>
                    <a:pt x="545" y="671"/>
                  </a:lnTo>
                  <a:lnTo>
                    <a:pt x="545" y="676"/>
                  </a:lnTo>
                  <a:lnTo>
                    <a:pt x="545" y="681"/>
                  </a:lnTo>
                  <a:lnTo>
                    <a:pt x="547" y="686"/>
                  </a:lnTo>
                  <a:lnTo>
                    <a:pt x="547" y="691"/>
                  </a:lnTo>
                  <a:lnTo>
                    <a:pt x="549" y="696"/>
                  </a:lnTo>
                  <a:lnTo>
                    <a:pt x="547" y="698"/>
                  </a:lnTo>
                  <a:lnTo>
                    <a:pt x="547" y="703"/>
                  </a:lnTo>
                  <a:lnTo>
                    <a:pt x="547" y="708"/>
                  </a:lnTo>
                  <a:lnTo>
                    <a:pt x="547" y="715"/>
                  </a:lnTo>
                  <a:lnTo>
                    <a:pt x="545" y="721"/>
                  </a:lnTo>
                  <a:lnTo>
                    <a:pt x="544" y="730"/>
                  </a:lnTo>
                  <a:lnTo>
                    <a:pt x="544" y="733"/>
                  </a:lnTo>
                  <a:lnTo>
                    <a:pt x="544" y="738"/>
                  </a:lnTo>
                  <a:lnTo>
                    <a:pt x="542" y="741"/>
                  </a:lnTo>
                  <a:lnTo>
                    <a:pt x="542" y="746"/>
                  </a:lnTo>
                  <a:lnTo>
                    <a:pt x="540" y="751"/>
                  </a:lnTo>
                  <a:lnTo>
                    <a:pt x="540" y="756"/>
                  </a:lnTo>
                  <a:lnTo>
                    <a:pt x="539" y="760"/>
                  </a:lnTo>
                  <a:lnTo>
                    <a:pt x="539" y="766"/>
                  </a:lnTo>
                  <a:lnTo>
                    <a:pt x="537" y="771"/>
                  </a:lnTo>
                  <a:lnTo>
                    <a:pt x="537" y="776"/>
                  </a:lnTo>
                  <a:lnTo>
                    <a:pt x="535" y="781"/>
                  </a:lnTo>
                  <a:lnTo>
                    <a:pt x="535" y="788"/>
                  </a:lnTo>
                  <a:lnTo>
                    <a:pt x="534" y="793"/>
                  </a:lnTo>
                  <a:lnTo>
                    <a:pt x="532" y="800"/>
                  </a:lnTo>
                  <a:lnTo>
                    <a:pt x="530" y="805"/>
                  </a:lnTo>
                  <a:lnTo>
                    <a:pt x="529" y="812"/>
                  </a:lnTo>
                  <a:lnTo>
                    <a:pt x="527" y="817"/>
                  </a:lnTo>
                  <a:lnTo>
                    <a:pt x="525" y="823"/>
                  </a:lnTo>
                  <a:lnTo>
                    <a:pt x="524" y="830"/>
                  </a:lnTo>
                  <a:lnTo>
                    <a:pt x="522" y="837"/>
                  </a:lnTo>
                  <a:lnTo>
                    <a:pt x="520" y="842"/>
                  </a:lnTo>
                  <a:lnTo>
                    <a:pt x="519" y="848"/>
                  </a:lnTo>
                  <a:lnTo>
                    <a:pt x="515" y="855"/>
                  </a:lnTo>
                  <a:lnTo>
                    <a:pt x="514" y="862"/>
                  </a:lnTo>
                  <a:lnTo>
                    <a:pt x="510" y="868"/>
                  </a:lnTo>
                  <a:lnTo>
                    <a:pt x="509" y="875"/>
                  </a:lnTo>
                  <a:lnTo>
                    <a:pt x="505" y="880"/>
                  </a:lnTo>
                  <a:lnTo>
                    <a:pt x="504" y="888"/>
                  </a:lnTo>
                  <a:lnTo>
                    <a:pt x="500" y="895"/>
                  </a:lnTo>
                  <a:lnTo>
                    <a:pt x="497" y="900"/>
                  </a:lnTo>
                  <a:lnTo>
                    <a:pt x="494" y="907"/>
                  </a:lnTo>
                  <a:lnTo>
                    <a:pt x="492" y="913"/>
                  </a:lnTo>
                  <a:lnTo>
                    <a:pt x="489" y="920"/>
                  </a:lnTo>
                  <a:lnTo>
                    <a:pt x="485" y="927"/>
                  </a:lnTo>
                  <a:lnTo>
                    <a:pt x="482" y="933"/>
                  </a:lnTo>
                  <a:lnTo>
                    <a:pt x="479" y="942"/>
                  </a:lnTo>
                  <a:lnTo>
                    <a:pt x="474" y="947"/>
                  </a:lnTo>
                  <a:lnTo>
                    <a:pt x="470" y="953"/>
                  </a:lnTo>
                  <a:lnTo>
                    <a:pt x="465" y="960"/>
                  </a:lnTo>
                  <a:lnTo>
                    <a:pt x="462" y="967"/>
                  </a:lnTo>
                  <a:lnTo>
                    <a:pt x="457" y="973"/>
                  </a:lnTo>
                  <a:lnTo>
                    <a:pt x="452" y="980"/>
                  </a:lnTo>
                  <a:lnTo>
                    <a:pt x="447" y="985"/>
                  </a:lnTo>
                  <a:lnTo>
                    <a:pt x="444" y="994"/>
                  </a:lnTo>
                  <a:lnTo>
                    <a:pt x="439" y="999"/>
                  </a:lnTo>
                  <a:lnTo>
                    <a:pt x="434" y="1005"/>
                  </a:lnTo>
                  <a:lnTo>
                    <a:pt x="427" y="1012"/>
                  </a:lnTo>
                  <a:lnTo>
                    <a:pt x="422" y="1017"/>
                  </a:lnTo>
                  <a:lnTo>
                    <a:pt x="417" y="1024"/>
                  </a:lnTo>
                  <a:lnTo>
                    <a:pt x="410" y="1030"/>
                  </a:lnTo>
                  <a:lnTo>
                    <a:pt x="405" y="1035"/>
                  </a:lnTo>
                  <a:lnTo>
                    <a:pt x="400" y="1042"/>
                  </a:lnTo>
                  <a:lnTo>
                    <a:pt x="397" y="1042"/>
                  </a:lnTo>
                  <a:lnTo>
                    <a:pt x="394" y="1047"/>
                  </a:lnTo>
                  <a:lnTo>
                    <a:pt x="390" y="1049"/>
                  </a:lnTo>
                  <a:lnTo>
                    <a:pt x="387" y="1054"/>
                  </a:lnTo>
                  <a:lnTo>
                    <a:pt x="382" y="1059"/>
                  </a:lnTo>
                  <a:lnTo>
                    <a:pt x="377" y="1064"/>
                  </a:lnTo>
                  <a:lnTo>
                    <a:pt x="370" y="1067"/>
                  </a:lnTo>
                  <a:lnTo>
                    <a:pt x="364" y="1074"/>
                  </a:lnTo>
                  <a:lnTo>
                    <a:pt x="355" y="1079"/>
                  </a:lnTo>
                  <a:lnTo>
                    <a:pt x="348" y="1085"/>
                  </a:lnTo>
                  <a:lnTo>
                    <a:pt x="343" y="1089"/>
                  </a:lnTo>
                  <a:lnTo>
                    <a:pt x="338" y="1092"/>
                  </a:lnTo>
                  <a:lnTo>
                    <a:pt x="335" y="1095"/>
                  </a:lnTo>
                  <a:lnTo>
                    <a:pt x="330" y="1099"/>
                  </a:lnTo>
                  <a:lnTo>
                    <a:pt x="325" y="1102"/>
                  </a:lnTo>
                  <a:lnTo>
                    <a:pt x="320" y="1105"/>
                  </a:lnTo>
                  <a:lnTo>
                    <a:pt x="315" y="1109"/>
                  </a:lnTo>
                  <a:lnTo>
                    <a:pt x="310" y="1114"/>
                  </a:lnTo>
                  <a:lnTo>
                    <a:pt x="303" y="1115"/>
                  </a:lnTo>
                  <a:lnTo>
                    <a:pt x="298" y="1119"/>
                  </a:lnTo>
                  <a:lnTo>
                    <a:pt x="292" y="1122"/>
                  </a:lnTo>
                  <a:lnTo>
                    <a:pt x="287" y="1125"/>
                  </a:lnTo>
                  <a:lnTo>
                    <a:pt x="280" y="1129"/>
                  </a:lnTo>
                  <a:lnTo>
                    <a:pt x="273" y="1132"/>
                  </a:lnTo>
                  <a:lnTo>
                    <a:pt x="267" y="1135"/>
                  </a:lnTo>
                  <a:lnTo>
                    <a:pt x="260" y="1139"/>
                  </a:lnTo>
                  <a:lnTo>
                    <a:pt x="253" y="1142"/>
                  </a:lnTo>
                  <a:lnTo>
                    <a:pt x="245" y="1145"/>
                  </a:lnTo>
                  <a:lnTo>
                    <a:pt x="238" y="1149"/>
                  </a:lnTo>
                  <a:lnTo>
                    <a:pt x="232" y="1150"/>
                  </a:lnTo>
                  <a:lnTo>
                    <a:pt x="223" y="1154"/>
                  </a:lnTo>
                  <a:lnTo>
                    <a:pt x="215" y="1157"/>
                  </a:lnTo>
                  <a:lnTo>
                    <a:pt x="207" y="1160"/>
                  </a:lnTo>
                  <a:lnTo>
                    <a:pt x="200" y="1164"/>
                  </a:lnTo>
                  <a:lnTo>
                    <a:pt x="190" y="1165"/>
                  </a:lnTo>
                  <a:lnTo>
                    <a:pt x="182" y="1169"/>
                  </a:lnTo>
                  <a:lnTo>
                    <a:pt x="173" y="1171"/>
                  </a:lnTo>
                  <a:lnTo>
                    <a:pt x="165" y="1172"/>
                  </a:lnTo>
                  <a:lnTo>
                    <a:pt x="155" y="1174"/>
                  </a:lnTo>
                  <a:lnTo>
                    <a:pt x="145" y="1177"/>
                  </a:lnTo>
                  <a:lnTo>
                    <a:pt x="136" y="1179"/>
                  </a:lnTo>
                  <a:lnTo>
                    <a:pt x="126" y="1181"/>
                  </a:lnTo>
                  <a:lnTo>
                    <a:pt x="116" y="1182"/>
                  </a:lnTo>
                  <a:lnTo>
                    <a:pt x="106" y="1184"/>
                  </a:lnTo>
                  <a:lnTo>
                    <a:pt x="96" y="1186"/>
                  </a:lnTo>
                  <a:lnTo>
                    <a:pt x="86" y="1186"/>
                  </a:lnTo>
                  <a:lnTo>
                    <a:pt x="75" y="1187"/>
                  </a:lnTo>
                  <a:lnTo>
                    <a:pt x="65" y="1187"/>
                  </a:lnTo>
                  <a:lnTo>
                    <a:pt x="55" y="1189"/>
                  </a:lnTo>
                  <a:lnTo>
                    <a:pt x="45" y="118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17" name="Freeform 9"/>
            <p:cNvSpPr/>
            <p:nvPr/>
          </p:nvSpPr>
          <p:spPr bwMode="auto">
            <a:xfrm>
              <a:off x="567" y="754"/>
              <a:ext cx="730" cy="1385"/>
            </a:xfrm>
            <a:custGeom>
              <a:avLst/>
              <a:gdLst>
                <a:gd name="T0" fmla="*/ 476 w 730"/>
                <a:gd name="T1" fmla="*/ 124 h 1385"/>
                <a:gd name="T2" fmla="*/ 134 w 730"/>
                <a:gd name="T3" fmla="*/ 281 h 1385"/>
                <a:gd name="T4" fmla="*/ 2 w 730"/>
                <a:gd name="T5" fmla="*/ 622 h 1385"/>
                <a:gd name="T6" fmla="*/ 0 w 730"/>
                <a:gd name="T7" fmla="*/ 662 h 1385"/>
                <a:gd name="T8" fmla="*/ 0 w 730"/>
                <a:gd name="T9" fmla="*/ 685 h 1385"/>
                <a:gd name="T10" fmla="*/ 0 w 730"/>
                <a:gd name="T11" fmla="*/ 708 h 1385"/>
                <a:gd name="T12" fmla="*/ 0 w 730"/>
                <a:gd name="T13" fmla="*/ 732 h 1385"/>
                <a:gd name="T14" fmla="*/ 4 w 730"/>
                <a:gd name="T15" fmla="*/ 757 h 1385"/>
                <a:gd name="T16" fmla="*/ 221 w 730"/>
                <a:gd name="T17" fmla="*/ 1084 h 1385"/>
                <a:gd name="T18" fmla="*/ 601 w 730"/>
                <a:gd name="T19" fmla="*/ 1299 h 1385"/>
                <a:gd name="T20" fmla="*/ 690 w 730"/>
                <a:gd name="T21" fmla="*/ 1191 h 1385"/>
                <a:gd name="T22" fmla="*/ 668 w 730"/>
                <a:gd name="T23" fmla="*/ 1189 h 1385"/>
                <a:gd name="T24" fmla="*/ 640 w 730"/>
                <a:gd name="T25" fmla="*/ 1188 h 1385"/>
                <a:gd name="T26" fmla="*/ 615 w 730"/>
                <a:gd name="T27" fmla="*/ 1184 h 1385"/>
                <a:gd name="T28" fmla="*/ 585 w 730"/>
                <a:gd name="T29" fmla="*/ 1176 h 1385"/>
                <a:gd name="T30" fmla="*/ 551 w 730"/>
                <a:gd name="T31" fmla="*/ 1169 h 1385"/>
                <a:gd name="T32" fmla="*/ 514 w 730"/>
                <a:gd name="T33" fmla="*/ 1157 h 1385"/>
                <a:gd name="T34" fmla="*/ 479 w 730"/>
                <a:gd name="T35" fmla="*/ 1144 h 1385"/>
                <a:gd name="T36" fmla="*/ 443 w 730"/>
                <a:gd name="T37" fmla="*/ 1126 h 1385"/>
                <a:gd name="T38" fmla="*/ 408 w 730"/>
                <a:gd name="T39" fmla="*/ 1102 h 1385"/>
                <a:gd name="T40" fmla="*/ 373 w 730"/>
                <a:gd name="T41" fmla="*/ 1077 h 1385"/>
                <a:gd name="T42" fmla="*/ 342 w 730"/>
                <a:gd name="T43" fmla="*/ 1046 h 1385"/>
                <a:gd name="T44" fmla="*/ 322 w 730"/>
                <a:gd name="T45" fmla="*/ 1027 h 1385"/>
                <a:gd name="T46" fmla="*/ 296 w 730"/>
                <a:gd name="T47" fmla="*/ 996 h 1385"/>
                <a:gd name="T48" fmla="*/ 279 w 730"/>
                <a:gd name="T49" fmla="*/ 972 h 1385"/>
                <a:gd name="T50" fmla="*/ 262 w 730"/>
                <a:gd name="T51" fmla="*/ 945 h 1385"/>
                <a:gd name="T52" fmla="*/ 246 w 730"/>
                <a:gd name="T53" fmla="*/ 912 h 1385"/>
                <a:gd name="T54" fmla="*/ 231 w 730"/>
                <a:gd name="T55" fmla="*/ 877 h 1385"/>
                <a:gd name="T56" fmla="*/ 216 w 730"/>
                <a:gd name="T57" fmla="*/ 837 h 1385"/>
                <a:gd name="T58" fmla="*/ 204 w 730"/>
                <a:gd name="T59" fmla="*/ 792 h 1385"/>
                <a:gd name="T60" fmla="*/ 196 w 730"/>
                <a:gd name="T61" fmla="*/ 742 h 1385"/>
                <a:gd name="T62" fmla="*/ 192 w 730"/>
                <a:gd name="T63" fmla="*/ 690 h 1385"/>
                <a:gd name="T64" fmla="*/ 192 w 730"/>
                <a:gd name="T65" fmla="*/ 665 h 1385"/>
                <a:gd name="T66" fmla="*/ 197 w 730"/>
                <a:gd name="T67" fmla="*/ 632 h 1385"/>
                <a:gd name="T68" fmla="*/ 201 w 730"/>
                <a:gd name="T69" fmla="*/ 605 h 1385"/>
                <a:gd name="T70" fmla="*/ 207 w 730"/>
                <a:gd name="T71" fmla="*/ 576 h 1385"/>
                <a:gd name="T72" fmla="*/ 216 w 730"/>
                <a:gd name="T73" fmla="*/ 545 h 1385"/>
                <a:gd name="T74" fmla="*/ 226 w 730"/>
                <a:gd name="T75" fmla="*/ 511 h 1385"/>
                <a:gd name="T76" fmla="*/ 241 w 730"/>
                <a:gd name="T77" fmla="*/ 476 h 1385"/>
                <a:gd name="T78" fmla="*/ 259 w 730"/>
                <a:gd name="T79" fmla="*/ 443 h 1385"/>
                <a:gd name="T80" fmla="*/ 279 w 730"/>
                <a:gd name="T81" fmla="*/ 408 h 1385"/>
                <a:gd name="T82" fmla="*/ 302 w 730"/>
                <a:gd name="T83" fmla="*/ 376 h 1385"/>
                <a:gd name="T84" fmla="*/ 332 w 730"/>
                <a:gd name="T85" fmla="*/ 346 h 1385"/>
                <a:gd name="T86" fmla="*/ 352 w 730"/>
                <a:gd name="T87" fmla="*/ 328 h 1385"/>
                <a:gd name="T88" fmla="*/ 381 w 730"/>
                <a:gd name="T89" fmla="*/ 301 h 1385"/>
                <a:gd name="T90" fmla="*/ 408 w 730"/>
                <a:gd name="T91" fmla="*/ 281 h 1385"/>
                <a:gd name="T92" fmla="*/ 433 w 730"/>
                <a:gd name="T93" fmla="*/ 264 h 1385"/>
                <a:gd name="T94" fmla="*/ 464 w 730"/>
                <a:gd name="T95" fmla="*/ 248 h 1385"/>
                <a:gd name="T96" fmla="*/ 499 w 730"/>
                <a:gd name="T97" fmla="*/ 231 h 1385"/>
                <a:gd name="T98" fmla="*/ 539 w 730"/>
                <a:gd name="T99" fmla="*/ 219 h 1385"/>
                <a:gd name="T100" fmla="*/ 583 w 730"/>
                <a:gd name="T101" fmla="*/ 206 h 1385"/>
                <a:gd name="T102" fmla="*/ 631 w 730"/>
                <a:gd name="T103" fmla="*/ 197 h 1385"/>
                <a:gd name="T104" fmla="*/ 685 w 730"/>
                <a:gd name="T105" fmla="*/ 194 h 138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730"/>
                <a:gd name="T160" fmla="*/ 0 h 1385"/>
                <a:gd name="T161" fmla="*/ 730 w 730"/>
                <a:gd name="T162" fmla="*/ 1385 h 138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730" h="1385">
                  <a:moveTo>
                    <a:pt x="698" y="194"/>
                  </a:moveTo>
                  <a:lnTo>
                    <a:pt x="693" y="0"/>
                  </a:lnTo>
                  <a:lnTo>
                    <a:pt x="631" y="2"/>
                  </a:lnTo>
                  <a:lnTo>
                    <a:pt x="606" y="89"/>
                  </a:lnTo>
                  <a:lnTo>
                    <a:pt x="476" y="124"/>
                  </a:lnTo>
                  <a:lnTo>
                    <a:pt x="393" y="67"/>
                  </a:lnTo>
                  <a:lnTo>
                    <a:pt x="297" y="121"/>
                  </a:lnTo>
                  <a:lnTo>
                    <a:pt x="302" y="221"/>
                  </a:lnTo>
                  <a:lnTo>
                    <a:pt x="232" y="296"/>
                  </a:lnTo>
                  <a:lnTo>
                    <a:pt x="134" y="281"/>
                  </a:lnTo>
                  <a:lnTo>
                    <a:pt x="69" y="386"/>
                  </a:lnTo>
                  <a:lnTo>
                    <a:pt x="127" y="468"/>
                  </a:lnTo>
                  <a:lnTo>
                    <a:pt x="89" y="591"/>
                  </a:lnTo>
                  <a:lnTo>
                    <a:pt x="4" y="615"/>
                  </a:lnTo>
                  <a:lnTo>
                    <a:pt x="2" y="622"/>
                  </a:lnTo>
                  <a:lnTo>
                    <a:pt x="2" y="628"/>
                  </a:lnTo>
                  <a:lnTo>
                    <a:pt x="0" y="637"/>
                  </a:lnTo>
                  <a:lnTo>
                    <a:pt x="0" y="645"/>
                  </a:lnTo>
                  <a:lnTo>
                    <a:pt x="0" y="653"/>
                  </a:lnTo>
                  <a:lnTo>
                    <a:pt x="0" y="662"/>
                  </a:lnTo>
                  <a:lnTo>
                    <a:pt x="0" y="667"/>
                  </a:lnTo>
                  <a:lnTo>
                    <a:pt x="0" y="672"/>
                  </a:lnTo>
                  <a:lnTo>
                    <a:pt x="0" y="675"/>
                  </a:lnTo>
                  <a:lnTo>
                    <a:pt x="0" y="680"/>
                  </a:lnTo>
                  <a:lnTo>
                    <a:pt x="0" y="685"/>
                  </a:lnTo>
                  <a:lnTo>
                    <a:pt x="0" y="690"/>
                  </a:lnTo>
                  <a:lnTo>
                    <a:pt x="0" y="693"/>
                  </a:lnTo>
                  <a:lnTo>
                    <a:pt x="0" y="698"/>
                  </a:lnTo>
                  <a:lnTo>
                    <a:pt x="0" y="703"/>
                  </a:lnTo>
                  <a:lnTo>
                    <a:pt x="0" y="708"/>
                  </a:lnTo>
                  <a:lnTo>
                    <a:pt x="0" y="713"/>
                  </a:lnTo>
                  <a:lnTo>
                    <a:pt x="0" y="718"/>
                  </a:lnTo>
                  <a:lnTo>
                    <a:pt x="0" y="723"/>
                  </a:lnTo>
                  <a:lnTo>
                    <a:pt x="0" y="727"/>
                  </a:lnTo>
                  <a:lnTo>
                    <a:pt x="0" y="732"/>
                  </a:lnTo>
                  <a:lnTo>
                    <a:pt x="2" y="737"/>
                  </a:lnTo>
                  <a:lnTo>
                    <a:pt x="2" y="742"/>
                  </a:lnTo>
                  <a:lnTo>
                    <a:pt x="2" y="747"/>
                  </a:lnTo>
                  <a:lnTo>
                    <a:pt x="4" y="752"/>
                  </a:lnTo>
                  <a:lnTo>
                    <a:pt x="4" y="757"/>
                  </a:lnTo>
                  <a:lnTo>
                    <a:pt x="89" y="780"/>
                  </a:lnTo>
                  <a:lnTo>
                    <a:pt x="124" y="910"/>
                  </a:lnTo>
                  <a:lnTo>
                    <a:pt x="67" y="992"/>
                  </a:lnTo>
                  <a:lnTo>
                    <a:pt x="120" y="1089"/>
                  </a:lnTo>
                  <a:lnTo>
                    <a:pt x="221" y="1084"/>
                  </a:lnTo>
                  <a:lnTo>
                    <a:pt x="296" y="1152"/>
                  </a:lnTo>
                  <a:lnTo>
                    <a:pt x="281" y="1253"/>
                  </a:lnTo>
                  <a:lnTo>
                    <a:pt x="388" y="1318"/>
                  </a:lnTo>
                  <a:lnTo>
                    <a:pt x="466" y="1261"/>
                  </a:lnTo>
                  <a:lnTo>
                    <a:pt x="601" y="1299"/>
                  </a:lnTo>
                  <a:lnTo>
                    <a:pt x="616" y="1380"/>
                  </a:lnTo>
                  <a:lnTo>
                    <a:pt x="693" y="1385"/>
                  </a:lnTo>
                  <a:lnTo>
                    <a:pt x="730" y="1304"/>
                  </a:lnTo>
                  <a:lnTo>
                    <a:pt x="691" y="1191"/>
                  </a:lnTo>
                  <a:lnTo>
                    <a:pt x="690" y="1191"/>
                  </a:lnTo>
                  <a:lnTo>
                    <a:pt x="688" y="1191"/>
                  </a:lnTo>
                  <a:lnTo>
                    <a:pt x="685" y="1191"/>
                  </a:lnTo>
                  <a:lnTo>
                    <a:pt x="681" y="1191"/>
                  </a:lnTo>
                  <a:lnTo>
                    <a:pt x="675" y="1189"/>
                  </a:lnTo>
                  <a:lnTo>
                    <a:pt x="668" y="1189"/>
                  </a:lnTo>
                  <a:lnTo>
                    <a:pt x="661" y="1189"/>
                  </a:lnTo>
                  <a:lnTo>
                    <a:pt x="655" y="1189"/>
                  </a:lnTo>
                  <a:lnTo>
                    <a:pt x="650" y="1188"/>
                  </a:lnTo>
                  <a:lnTo>
                    <a:pt x="645" y="1188"/>
                  </a:lnTo>
                  <a:lnTo>
                    <a:pt x="640" y="1188"/>
                  </a:lnTo>
                  <a:lnTo>
                    <a:pt x="635" y="1186"/>
                  </a:lnTo>
                  <a:lnTo>
                    <a:pt x="630" y="1186"/>
                  </a:lnTo>
                  <a:lnTo>
                    <a:pt x="625" y="1184"/>
                  </a:lnTo>
                  <a:lnTo>
                    <a:pt x="620" y="1184"/>
                  </a:lnTo>
                  <a:lnTo>
                    <a:pt x="615" y="1184"/>
                  </a:lnTo>
                  <a:lnTo>
                    <a:pt x="608" y="1183"/>
                  </a:lnTo>
                  <a:lnTo>
                    <a:pt x="603" y="1181"/>
                  </a:lnTo>
                  <a:lnTo>
                    <a:pt x="596" y="1179"/>
                  </a:lnTo>
                  <a:lnTo>
                    <a:pt x="591" y="1178"/>
                  </a:lnTo>
                  <a:lnTo>
                    <a:pt x="585" y="1176"/>
                  </a:lnTo>
                  <a:lnTo>
                    <a:pt x="578" y="1176"/>
                  </a:lnTo>
                  <a:lnTo>
                    <a:pt x="571" y="1174"/>
                  </a:lnTo>
                  <a:lnTo>
                    <a:pt x="564" y="1173"/>
                  </a:lnTo>
                  <a:lnTo>
                    <a:pt x="558" y="1171"/>
                  </a:lnTo>
                  <a:lnTo>
                    <a:pt x="551" y="1169"/>
                  </a:lnTo>
                  <a:lnTo>
                    <a:pt x="544" y="1167"/>
                  </a:lnTo>
                  <a:lnTo>
                    <a:pt x="536" y="1166"/>
                  </a:lnTo>
                  <a:lnTo>
                    <a:pt x="529" y="1162"/>
                  </a:lnTo>
                  <a:lnTo>
                    <a:pt x="523" y="1161"/>
                  </a:lnTo>
                  <a:lnTo>
                    <a:pt x="514" y="1157"/>
                  </a:lnTo>
                  <a:lnTo>
                    <a:pt x="509" y="1156"/>
                  </a:lnTo>
                  <a:lnTo>
                    <a:pt x="501" y="1152"/>
                  </a:lnTo>
                  <a:lnTo>
                    <a:pt x="494" y="1149"/>
                  </a:lnTo>
                  <a:lnTo>
                    <a:pt x="486" y="1146"/>
                  </a:lnTo>
                  <a:lnTo>
                    <a:pt x="479" y="1144"/>
                  </a:lnTo>
                  <a:lnTo>
                    <a:pt x="473" y="1139"/>
                  </a:lnTo>
                  <a:lnTo>
                    <a:pt x="466" y="1136"/>
                  </a:lnTo>
                  <a:lnTo>
                    <a:pt x="458" y="1134"/>
                  </a:lnTo>
                  <a:lnTo>
                    <a:pt x="451" y="1131"/>
                  </a:lnTo>
                  <a:lnTo>
                    <a:pt x="443" y="1126"/>
                  </a:lnTo>
                  <a:lnTo>
                    <a:pt x="436" y="1121"/>
                  </a:lnTo>
                  <a:lnTo>
                    <a:pt x="429" y="1117"/>
                  </a:lnTo>
                  <a:lnTo>
                    <a:pt x="421" y="1112"/>
                  </a:lnTo>
                  <a:lnTo>
                    <a:pt x="414" y="1107"/>
                  </a:lnTo>
                  <a:lnTo>
                    <a:pt x="408" y="1102"/>
                  </a:lnTo>
                  <a:lnTo>
                    <a:pt x="399" y="1099"/>
                  </a:lnTo>
                  <a:lnTo>
                    <a:pt x="394" y="1094"/>
                  </a:lnTo>
                  <a:lnTo>
                    <a:pt x="386" y="1087"/>
                  </a:lnTo>
                  <a:lnTo>
                    <a:pt x="379" y="1082"/>
                  </a:lnTo>
                  <a:lnTo>
                    <a:pt x="373" y="1077"/>
                  </a:lnTo>
                  <a:lnTo>
                    <a:pt x="366" y="1071"/>
                  </a:lnTo>
                  <a:lnTo>
                    <a:pt x="359" y="1066"/>
                  </a:lnTo>
                  <a:lnTo>
                    <a:pt x="354" y="1059"/>
                  </a:lnTo>
                  <a:lnTo>
                    <a:pt x="347" y="1052"/>
                  </a:lnTo>
                  <a:lnTo>
                    <a:pt x="342" y="1046"/>
                  </a:lnTo>
                  <a:lnTo>
                    <a:pt x="339" y="1044"/>
                  </a:lnTo>
                  <a:lnTo>
                    <a:pt x="334" y="1039"/>
                  </a:lnTo>
                  <a:lnTo>
                    <a:pt x="331" y="1036"/>
                  </a:lnTo>
                  <a:lnTo>
                    <a:pt x="327" y="1032"/>
                  </a:lnTo>
                  <a:lnTo>
                    <a:pt x="322" y="1027"/>
                  </a:lnTo>
                  <a:lnTo>
                    <a:pt x="319" y="1024"/>
                  </a:lnTo>
                  <a:lnTo>
                    <a:pt x="312" y="1017"/>
                  </a:lnTo>
                  <a:lnTo>
                    <a:pt x="307" y="1011"/>
                  </a:lnTo>
                  <a:lnTo>
                    <a:pt x="301" y="1002"/>
                  </a:lnTo>
                  <a:lnTo>
                    <a:pt x="296" y="996"/>
                  </a:lnTo>
                  <a:lnTo>
                    <a:pt x="292" y="991"/>
                  </a:lnTo>
                  <a:lnTo>
                    <a:pt x="289" y="986"/>
                  </a:lnTo>
                  <a:lnTo>
                    <a:pt x="286" y="982"/>
                  </a:lnTo>
                  <a:lnTo>
                    <a:pt x="282" y="977"/>
                  </a:lnTo>
                  <a:lnTo>
                    <a:pt x="279" y="972"/>
                  </a:lnTo>
                  <a:lnTo>
                    <a:pt x="276" y="967"/>
                  </a:lnTo>
                  <a:lnTo>
                    <a:pt x="272" y="962"/>
                  </a:lnTo>
                  <a:lnTo>
                    <a:pt x="269" y="957"/>
                  </a:lnTo>
                  <a:lnTo>
                    <a:pt x="266" y="950"/>
                  </a:lnTo>
                  <a:lnTo>
                    <a:pt x="262" y="945"/>
                  </a:lnTo>
                  <a:lnTo>
                    <a:pt x="259" y="939"/>
                  </a:lnTo>
                  <a:lnTo>
                    <a:pt x="256" y="932"/>
                  </a:lnTo>
                  <a:lnTo>
                    <a:pt x="251" y="927"/>
                  </a:lnTo>
                  <a:lnTo>
                    <a:pt x="249" y="920"/>
                  </a:lnTo>
                  <a:lnTo>
                    <a:pt x="246" y="912"/>
                  </a:lnTo>
                  <a:lnTo>
                    <a:pt x="242" y="907"/>
                  </a:lnTo>
                  <a:lnTo>
                    <a:pt x="239" y="899"/>
                  </a:lnTo>
                  <a:lnTo>
                    <a:pt x="236" y="892"/>
                  </a:lnTo>
                  <a:lnTo>
                    <a:pt x="232" y="884"/>
                  </a:lnTo>
                  <a:lnTo>
                    <a:pt x="231" y="877"/>
                  </a:lnTo>
                  <a:lnTo>
                    <a:pt x="227" y="869"/>
                  </a:lnTo>
                  <a:lnTo>
                    <a:pt x="224" y="862"/>
                  </a:lnTo>
                  <a:lnTo>
                    <a:pt x="221" y="854"/>
                  </a:lnTo>
                  <a:lnTo>
                    <a:pt x="219" y="845"/>
                  </a:lnTo>
                  <a:lnTo>
                    <a:pt x="216" y="837"/>
                  </a:lnTo>
                  <a:lnTo>
                    <a:pt x="214" y="829"/>
                  </a:lnTo>
                  <a:lnTo>
                    <a:pt x="211" y="820"/>
                  </a:lnTo>
                  <a:lnTo>
                    <a:pt x="209" y="810"/>
                  </a:lnTo>
                  <a:lnTo>
                    <a:pt x="206" y="802"/>
                  </a:lnTo>
                  <a:lnTo>
                    <a:pt x="204" y="792"/>
                  </a:lnTo>
                  <a:lnTo>
                    <a:pt x="202" y="782"/>
                  </a:lnTo>
                  <a:lnTo>
                    <a:pt x="201" y="773"/>
                  </a:lnTo>
                  <a:lnTo>
                    <a:pt x="199" y="763"/>
                  </a:lnTo>
                  <a:lnTo>
                    <a:pt x="197" y="753"/>
                  </a:lnTo>
                  <a:lnTo>
                    <a:pt x="196" y="742"/>
                  </a:lnTo>
                  <a:lnTo>
                    <a:pt x="196" y="733"/>
                  </a:lnTo>
                  <a:lnTo>
                    <a:pt x="194" y="722"/>
                  </a:lnTo>
                  <a:lnTo>
                    <a:pt x="192" y="712"/>
                  </a:lnTo>
                  <a:lnTo>
                    <a:pt x="192" y="700"/>
                  </a:lnTo>
                  <a:lnTo>
                    <a:pt x="192" y="690"/>
                  </a:lnTo>
                  <a:lnTo>
                    <a:pt x="192" y="687"/>
                  </a:lnTo>
                  <a:lnTo>
                    <a:pt x="192" y="683"/>
                  </a:lnTo>
                  <a:lnTo>
                    <a:pt x="192" y="677"/>
                  </a:lnTo>
                  <a:lnTo>
                    <a:pt x="192" y="673"/>
                  </a:lnTo>
                  <a:lnTo>
                    <a:pt x="192" y="665"/>
                  </a:lnTo>
                  <a:lnTo>
                    <a:pt x="194" y="658"/>
                  </a:lnTo>
                  <a:lnTo>
                    <a:pt x="194" y="650"/>
                  </a:lnTo>
                  <a:lnTo>
                    <a:pt x="196" y="642"/>
                  </a:lnTo>
                  <a:lnTo>
                    <a:pt x="196" y="637"/>
                  </a:lnTo>
                  <a:lnTo>
                    <a:pt x="197" y="632"/>
                  </a:lnTo>
                  <a:lnTo>
                    <a:pt x="197" y="627"/>
                  </a:lnTo>
                  <a:lnTo>
                    <a:pt x="199" y="622"/>
                  </a:lnTo>
                  <a:lnTo>
                    <a:pt x="199" y="617"/>
                  </a:lnTo>
                  <a:lnTo>
                    <a:pt x="201" y="610"/>
                  </a:lnTo>
                  <a:lnTo>
                    <a:pt x="201" y="605"/>
                  </a:lnTo>
                  <a:lnTo>
                    <a:pt x="202" y="600"/>
                  </a:lnTo>
                  <a:lnTo>
                    <a:pt x="202" y="593"/>
                  </a:lnTo>
                  <a:lnTo>
                    <a:pt x="204" y="588"/>
                  </a:lnTo>
                  <a:lnTo>
                    <a:pt x="206" y="581"/>
                  </a:lnTo>
                  <a:lnTo>
                    <a:pt x="207" y="576"/>
                  </a:lnTo>
                  <a:lnTo>
                    <a:pt x="209" y="570"/>
                  </a:lnTo>
                  <a:lnTo>
                    <a:pt x="211" y="563"/>
                  </a:lnTo>
                  <a:lnTo>
                    <a:pt x="212" y="556"/>
                  </a:lnTo>
                  <a:lnTo>
                    <a:pt x="214" y="551"/>
                  </a:lnTo>
                  <a:lnTo>
                    <a:pt x="216" y="545"/>
                  </a:lnTo>
                  <a:lnTo>
                    <a:pt x="217" y="538"/>
                  </a:lnTo>
                  <a:lnTo>
                    <a:pt x="219" y="531"/>
                  </a:lnTo>
                  <a:lnTo>
                    <a:pt x="221" y="525"/>
                  </a:lnTo>
                  <a:lnTo>
                    <a:pt x="224" y="518"/>
                  </a:lnTo>
                  <a:lnTo>
                    <a:pt x="226" y="511"/>
                  </a:lnTo>
                  <a:lnTo>
                    <a:pt x="229" y="505"/>
                  </a:lnTo>
                  <a:lnTo>
                    <a:pt x="232" y="498"/>
                  </a:lnTo>
                  <a:lnTo>
                    <a:pt x="234" y="491"/>
                  </a:lnTo>
                  <a:lnTo>
                    <a:pt x="237" y="485"/>
                  </a:lnTo>
                  <a:lnTo>
                    <a:pt x="241" y="476"/>
                  </a:lnTo>
                  <a:lnTo>
                    <a:pt x="244" y="470"/>
                  </a:lnTo>
                  <a:lnTo>
                    <a:pt x="247" y="463"/>
                  </a:lnTo>
                  <a:lnTo>
                    <a:pt x="251" y="456"/>
                  </a:lnTo>
                  <a:lnTo>
                    <a:pt x="254" y="450"/>
                  </a:lnTo>
                  <a:lnTo>
                    <a:pt x="259" y="443"/>
                  </a:lnTo>
                  <a:lnTo>
                    <a:pt x="262" y="436"/>
                  </a:lnTo>
                  <a:lnTo>
                    <a:pt x="266" y="430"/>
                  </a:lnTo>
                  <a:lnTo>
                    <a:pt x="269" y="421"/>
                  </a:lnTo>
                  <a:lnTo>
                    <a:pt x="274" y="416"/>
                  </a:lnTo>
                  <a:lnTo>
                    <a:pt x="279" y="408"/>
                  </a:lnTo>
                  <a:lnTo>
                    <a:pt x="282" y="401"/>
                  </a:lnTo>
                  <a:lnTo>
                    <a:pt x="287" y="396"/>
                  </a:lnTo>
                  <a:lnTo>
                    <a:pt x="294" y="389"/>
                  </a:lnTo>
                  <a:lnTo>
                    <a:pt x="299" y="383"/>
                  </a:lnTo>
                  <a:lnTo>
                    <a:pt x="302" y="376"/>
                  </a:lnTo>
                  <a:lnTo>
                    <a:pt x="309" y="369"/>
                  </a:lnTo>
                  <a:lnTo>
                    <a:pt x="316" y="364"/>
                  </a:lnTo>
                  <a:lnTo>
                    <a:pt x="321" y="358"/>
                  </a:lnTo>
                  <a:lnTo>
                    <a:pt x="327" y="351"/>
                  </a:lnTo>
                  <a:lnTo>
                    <a:pt x="332" y="346"/>
                  </a:lnTo>
                  <a:lnTo>
                    <a:pt x="341" y="341"/>
                  </a:lnTo>
                  <a:lnTo>
                    <a:pt x="341" y="338"/>
                  </a:lnTo>
                  <a:lnTo>
                    <a:pt x="346" y="334"/>
                  </a:lnTo>
                  <a:lnTo>
                    <a:pt x="347" y="331"/>
                  </a:lnTo>
                  <a:lnTo>
                    <a:pt x="352" y="328"/>
                  </a:lnTo>
                  <a:lnTo>
                    <a:pt x="356" y="323"/>
                  </a:lnTo>
                  <a:lnTo>
                    <a:pt x="363" y="318"/>
                  </a:lnTo>
                  <a:lnTo>
                    <a:pt x="366" y="313"/>
                  </a:lnTo>
                  <a:lnTo>
                    <a:pt x="374" y="306"/>
                  </a:lnTo>
                  <a:lnTo>
                    <a:pt x="381" y="301"/>
                  </a:lnTo>
                  <a:lnTo>
                    <a:pt x="389" y="296"/>
                  </a:lnTo>
                  <a:lnTo>
                    <a:pt x="393" y="291"/>
                  </a:lnTo>
                  <a:lnTo>
                    <a:pt x="398" y="288"/>
                  </a:lnTo>
                  <a:lnTo>
                    <a:pt x="401" y="284"/>
                  </a:lnTo>
                  <a:lnTo>
                    <a:pt x="408" y="281"/>
                  </a:lnTo>
                  <a:lnTo>
                    <a:pt x="413" y="278"/>
                  </a:lnTo>
                  <a:lnTo>
                    <a:pt x="416" y="276"/>
                  </a:lnTo>
                  <a:lnTo>
                    <a:pt x="423" y="271"/>
                  </a:lnTo>
                  <a:lnTo>
                    <a:pt x="429" y="269"/>
                  </a:lnTo>
                  <a:lnTo>
                    <a:pt x="433" y="264"/>
                  </a:lnTo>
                  <a:lnTo>
                    <a:pt x="439" y="263"/>
                  </a:lnTo>
                  <a:lnTo>
                    <a:pt x="444" y="258"/>
                  </a:lnTo>
                  <a:lnTo>
                    <a:pt x="451" y="254"/>
                  </a:lnTo>
                  <a:lnTo>
                    <a:pt x="458" y="251"/>
                  </a:lnTo>
                  <a:lnTo>
                    <a:pt x="464" y="248"/>
                  </a:lnTo>
                  <a:lnTo>
                    <a:pt x="471" y="244"/>
                  </a:lnTo>
                  <a:lnTo>
                    <a:pt x="478" y="243"/>
                  </a:lnTo>
                  <a:lnTo>
                    <a:pt x="484" y="237"/>
                  </a:lnTo>
                  <a:lnTo>
                    <a:pt x="491" y="234"/>
                  </a:lnTo>
                  <a:lnTo>
                    <a:pt x="499" y="231"/>
                  </a:lnTo>
                  <a:lnTo>
                    <a:pt x="506" y="229"/>
                  </a:lnTo>
                  <a:lnTo>
                    <a:pt x="514" y="226"/>
                  </a:lnTo>
                  <a:lnTo>
                    <a:pt x="523" y="224"/>
                  </a:lnTo>
                  <a:lnTo>
                    <a:pt x="531" y="221"/>
                  </a:lnTo>
                  <a:lnTo>
                    <a:pt x="539" y="219"/>
                  </a:lnTo>
                  <a:lnTo>
                    <a:pt x="548" y="216"/>
                  </a:lnTo>
                  <a:lnTo>
                    <a:pt x="556" y="212"/>
                  </a:lnTo>
                  <a:lnTo>
                    <a:pt x="564" y="211"/>
                  </a:lnTo>
                  <a:lnTo>
                    <a:pt x="575" y="209"/>
                  </a:lnTo>
                  <a:lnTo>
                    <a:pt x="583" y="206"/>
                  </a:lnTo>
                  <a:lnTo>
                    <a:pt x="593" y="204"/>
                  </a:lnTo>
                  <a:lnTo>
                    <a:pt x="601" y="202"/>
                  </a:lnTo>
                  <a:lnTo>
                    <a:pt x="613" y="201"/>
                  </a:lnTo>
                  <a:lnTo>
                    <a:pt x="621" y="199"/>
                  </a:lnTo>
                  <a:lnTo>
                    <a:pt x="631" y="197"/>
                  </a:lnTo>
                  <a:lnTo>
                    <a:pt x="641" y="196"/>
                  </a:lnTo>
                  <a:lnTo>
                    <a:pt x="653" y="196"/>
                  </a:lnTo>
                  <a:lnTo>
                    <a:pt x="663" y="194"/>
                  </a:lnTo>
                  <a:lnTo>
                    <a:pt x="675" y="194"/>
                  </a:lnTo>
                  <a:lnTo>
                    <a:pt x="685" y="194"/>
                  </a:lnTo>
                  <a:lnTo>
                    <a:pt x="698" y="19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grpSp>
      <p:grpSp>
        <p:nvGrpSpPr>
          <p:cNvPr id="10" name="Group 4"/>
          <p:cNvGrpSpPr/>
          <p:nvPr/>
        </p:nvGrpSpPr>
        <p:grpSpPr bwMode="auto">
          <a:xfrm>
            <a:off x="1153175" y="2915917"/>
            <a:ext cx="1846263" cy="1839913"/>
            <a:chOff x="884" y="2387"/>
            <a:chExt cx="1163" cy="1159"/>
          </a:xfrm>
          <a:solidFill>
            <a:schemeClr val="accent2"/>
          </a:solidFill>
        </p:grpSpPr>
        <p:sp>
          <p:nvSpPr>
            <p:cNvPr id="12" name="Freeform 5"/>
            <p:cNvSpPr/>
            <p:nvPr/>
          </p:nvSpPr>
          <p:spPr bwMode="auto">
            <a:xfrm>
              <a:off x="1429" y="2387"/>
              <a:ext cx="618" cy="1156"/>
            </a:xfrm>
            <a:custGeom>
              <a:avLst/>
              <a:gdLst>
                <a:gd name="T0" fmla="*/ 112 w 618"/>
                <a:gd name="T1" fmla="*/ 1084 h 1156"/>
                <a:gd name="T2" fmla="*/ 367 w 618"/>
                <a:gd name="T3" fmla="*/ 974 h 1156"/>
                <a:gd name="T4" fmla="*/ 517 w 618"/>
                <a:gd name="T5" fmla="*/ 748 h 1156"/>
                <a:gd name="T6" fmla="*/ 544 w 618"/>
                <a:gd name="T7" fmla="*/ 506 h 1156"/>
                <a:gd name="T8" fmla="*/ 434 w 618"/>
                <a:gd name="T9" fmla="*/ 251 h 1156"/>
                <a:gd name="T10" fmla="*/ 227 w 618"/>
                <a:gd name="T11" fmla="*/ 104 h 1156"/>
                <a:gd name="T12" fmla="*/ 0 w 618"/>
                <a:gd name="T13" fmla="*/ 74 h 1156"/>
                <a:gd name="T14" fmla="*/ 50 w 618"/>
                <a:gd name="T15" fmla="*/ 160 h 1156"/>
                <a:gd name="T16" fmla="*/ 77 w 618"/>
                <a:gd name="T17" fmla="*/ 162 h 1156"/>
                <a:gd name="T18" fmla="*/ 97 w 618"/>
                <a:gd name="T19" fmla="*/ 164 h 1156"/>
                <a:gd name="T20" fmla="*/ 117 w 618"/>
                <a:gd name="T21" fmla="*/ 169 h 1156"/>
                <a:gd name="T22" fmla="*/ 139 w 618"/>
                <a:gd name="T23" fmla="*/ 174 h 1156"/>
                <a:gd name="T24" fmla="*/ 160 w 618"/>
                <a:gd name="T25" fmla="*/ 179 h 1156"/>
                <a:gd name="T26" fmla="*/ 184 w 618"/>
                <a:gd name="T27" fmla="*/ 187 h 1156"/>
                <a:gd name="T28" fmla="*/ 209 w 618"/>
                <a:gd name="T29" fmla="*/ 195 h 1156"/>
                <a:gd name="T30" fmla="*/ 232 w 618"/>
                <a:gd name="T31" fmla="*/ 207 h 1156"/>
                <a:gd name="T32" fmla="*/ 257 w 618"/>
                <a:gd name="T33" fmla="*/ 221 h 1156"/>
                <a:gd name="T34" fmla="*/ 280 w 618"/>
                <a:gd name="T35" fmla="*/ 237 h 1156"/>
                <a:gd name="T36" fmla="*/ 304 w 618"/>
                <a:gd name="T37" fmla="*/ 256 h 1156"/>
                <a:gd name="T38" fmla="*/ 325 w 618"/>
                <a:gd name="T39" fmla="*/ 277 h 1156"/>
                <a:gd name="T40" fmla="*/ 344 w 618"/>
                <a:gd name="T41" fmla="*/ 296 h 1156"/>
                <a:gd name="T42" fmla="*/ 361 w 618"/>
                <a:gd name="T43" fmla="*/ 314 h 1156"/>
                <a:gd name="T44" fmla="*/ 376 w 618"/>
                <a:gd name="T45" fmla="*/ 332 h 1156"/>
                <a:gd name="T46" fmla="*/ 389 w 618"/>
                <a:gd name="T47" fmla="*/ 351 h 1156"/>
                <a:gd name="T48" fmla="*/ 401 w 618"/>
                <a:gd name="T49" fmla="*/ 371 h 1156"/>
                <a:gd name="T50" fmla="*/ 411 w 618"/>
                <a:gd name="T51" fmla="*/ 391 h 1156"/>
                <a:gd name="T52" fmla="*/ 421 w 618"/>
                <a:gd name="T53" fmla="*/ 411 h 1156"/>
                <a:gd name="T54" fmla="*/ 429 w 618"/>
                <a:gd name="T55" fmla="*/ 431 h 1156"/>
                <a:gd name="T56" fmla="*/ 436 w 618"/>
                <a:gd name="T57" fmla="*/ 451 h 1156"/>
                <a:gd name="T58" fmla="*/ 441 w 618"/>
                <a:gd name="T59" fmla="*/ 469 h 1156"/>
                <a:gd name="T60" fmla="*/ 444 w 618"/>
                <a:gd name="T61" fmla="*/ 489 h 1156"/>
                <a:gd name="T62" fmla="*/ 449 w 618"/>
                <a:gd name="T63" fmla="*/ 509 h 1156"/>
                <a:gd name="T64" fmla="*/ 452 w 618"/>
                <a:gd name="T65" fmla="*/ 526 h 1156"/>
                <a:gd name="T66" fmla="*/ 454 w 618"/>
                <a:gd name="T67" fmla="*/ 544 h 1156"/>
                <a:gd name="T68" fmla="*/ 457 w 618"/>
                <a:gd name="T69" fmla="*/ 573 h 1156"/>
                <a:gd name="T70" fmla="*/ 457 w 618"/>
                <a:gd name="T71" fmla="*/ 591 h 1156"/>
                <a:gd name="T72" fmla="*/ 456 w 618"/>
                <a:gd name="T73" fmla="*/ 616 h 1156"/>
                <a:gd name="T74" fmla="*/ 449 w 618"/>
                <a:gd name="T75" fmla="*/ 645 h 1156"/>
                <a:gd name="T76" fmla="*/ 446 w 618"/>
                <a:gd name="T77" fmla="*/ 663 h 1156"/>
                <a:gd name="T78" fmla="*/ 441 w 618"/>
                <a:gd name="T79" fmla="*/ 683 h 1156"/>
                <a:gd name="T80" fmla="*/ 436 w 618"/>
                <a:gd name="T81" fmla="*/ 705 h 1156"/>
                <a:gd name="T82" fmla="*/ 427 w 618"/>
                <a:gd name="T83" fmla="*/ 725 h 1156"/>
                <a:gd name="T84" fmla="*/ 419 w 618"/>
                <a:gd name="T85" fmla="*/ 748 h 1156"/>
                <a:gd name="T86" fmla="*/ 409 w 618"/>
                <a:gd name="T87" fmla="*/ 771 h 1156"/>
                <a:gd name="T88" fmla="*/ 397 w 618"/>
                <a:gd name="T89" fmla="*/ 793 h 1156"/>
                <a:gd name="T90" fmla="*/ 384 w 618"/>
                <a:gd name="T91" fmla="*/ 815 h 1156"/>
                <a:gd name="T92" fmla="*/ 367 w 618"/>
                <a:gd name="T93" fmla="*/ 837 h 1156"/>
                <a:gd name="T94" fmla="*/ 351 w 618"/>
                <a:gd name="T95" fmla="*/ 858 h 1156"/>
                <a:gd name="T96" fmla="*/ 334 w 618"/>
                <a:gd name="T97" fmla="*/ 873 h 1156"/>
                <a:gd name="T98" fmla="*/ 320 w 618"/>
                <a:gd name="T99" fmla="*/ 885 h 1156"/>
                <a:gd name="T100" fmla="*/ 299 w 618"/>
                <a:gd name="T101" fmla="*/ 903 h 1156"/>
                <a:gd name="T102" fmla="*/ 269 w 618"/>
                <a:gd name="T103" fmla="*/ 925 h 1156"/>
                <a:gd name="T104" fmla="*/ 245 w 618"/>
                <a:gd name="T105" fmla="*/ 940 h 1156"/>
                <a:gd name="T106" fmla="*/ 225 w 618"/>
                <a:gd name="T107" fmla="*/ 950 h 1156"/>
                <a:gd name="T108" fmla="*/ 200 w 618"/>
                <a:gd name="T109" fmla="*/ 962 h 1156"/>
                <a:gd name="T110" fmla="*/ 175 w 618"/>
                <a:gd name="T111" fmla="*/ 970 h 1156"/>
                <a:gd name="T112" fmla="*/ 145 w 618"/>
                <a:gd name="T113" fmla="*/ 979 h 1156"/>
                <a:gd name="T114" fmla="*/ 115 w 618"/>
                <a:gd name="T115" fmla="*/ 987 h 1156"/>
                <a:gd name="T116" fmla="*/ 80 w 618"/>
                <a:gd name="T117" fmla="*/ 992 h 1156"/>
                <a:gd name="T118" fmla="*/ 45 w 618"/>
                <a:gd name="T119" fmla="*/ 995 h 115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618"/>
                <a:gd name="T181" fmla="*/ 0 h 1156"/>
                <a:gd name="T182" fmla="*/ 618 w 618"/>
                <a:gd name="T183" fmla="*/ 1156 h 115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618" h="1156">
                  <a:moveTo>
                    <a:pt x="37" y="997"/>
                  </a:moveTo>
                  <a:lnTo>
                    <a:pt x="40" y="1156"/>
                  </a:lnTo>
                  <a:lnTo>
                    <a:pt x="82" y="1152"/>
                  </a:lnTo>
                  <a:lnTo>
                    <a:pt x="112" y="1084"/>
                  </a:lnTo>
                  <a:lnTo>
                    <a:pt x="220" y="1054"/>
                  </a:lnTo>
                  <a:lnTo>
                    <a:pt x="312" y="1090"/>
                  </a:lnTo>
                  <a:lnTo>
                    <a:pt x="357" y="1062"/>
                  </a:lnTo>
                  <a:lnTo>
                    <a:pt x="367" y="974"/>
                  </a:lnTo>
                  <a:lnTo>
                    <a:pt x="434" y="907"/>
                  </a:lnTo>
                  <a:lnTo>
                    <a:pt x="519" y="903"/>
                  </a:lnTo>
                  <a:lnTo>
                    <a:pt x="558" y="845"/>
                  </a:lnTo>
                  <a:lnTo>
                    <a:pt x="517" y="748"/>
                  </a:lnTo>
                  <a:lnTo>
                    <a:pt x="548" y="655"/>
                  </a:lnTo>
                  <a:lnTo>
                    <a:pt x="614" y="608"/>
                  </a:lnTo>
                  <a:lnTo>
                    <a:pt x="618" y="543"/>
                  </a:lnTo>
                  <a:lnTo>
                    <a:pt x="544" y="506"/>
                  </a:lnTo>
                  <a:lnTo>
                    <a:pt x="514" y="399"/>
                  </a:lnTo>
                  <a:lnTo>
                    <a:pt x="551" y="302"/>
                  </a:lnTo>
                  <a:lnTo>
                    <a:pt x="527" y="264"/>
                  </a:lnTo>
                  <a:lnTo>
                    <a:pt x="434" y="251"/>
                  </a:lnTo>
                  <a:lnTo>
                    <a:pt x="372" y="192"/>
                  </a:lnTo>
                  <a:lnTo>
                    <a:pt x="367" y="97"/>
                  </a:lnTo>
                  <a:lnTo>
                    <a:pt x="315" y="65"/>
                  </a:lnTo>
                  <a:lnTo>
                    <a:pt x="227" y="104"/>
                  </a:lnTo>
                  <a:lnTo>
                    <a:pt x="115" y="72"/>
                  </a:lnTo>
                  <a:lnTo>
                    <a:pt x="103" y="2"/>
                  </a:lnTo>
                  <a:lnTo>
                    <a:pt x="35" y="0"/>
                  </a:lnTo>
                  <a:lnTo>
                    <a:pt x="0" y="74"/>
                  </a:lnTo>
                  <a:lnTo>
                    <a:pt x="40" y="160"/>
                  </a:lnTo>
                  <a:lnTo>
                    <a:pt x="42" y="160"/>
                  </a:lnTo>
                  <a:lnTo>
                    <a:pt x="47" y="160"/>
                  </a:lnTo>
                  <a:lnTo>
                    <a:pt x="50" y="160"/>
                  </a:lnTo>
                  <a:lnTo>
                    <a:pt x="57" y="160"/>
                  </a:lnTo>
                  <a:lnTo>
                    <a:pt x="62" y="160"/>
                  </a:lnTo>
                  <a:lnTo>
                    <a:pt x="68" y="162"/>
                  </a:lnTo>
                  <a:lnTo>
                    <a:pt x="77" y="162"/>
                  </a:lnTo>
                  <a:lnTo>
                    <a:pt x="83" y="162"/>
                  </a:lnTo>
                  <a:lnTo>
                    <a:pt x="88" y="162"/>
                  </a:lnTo>
                  <a:lnTo>
                    <a:pt x="93" y="164"/>
                  </a:lnTo>
                  <a:lnTo>
                    <a:pt x="97" y="164"/>
                  </a:lnTo>
                  <a:lnTo>
                    <a:pt x="102" y="165"/>
                  </a:lnTo>
                  <a:lnTo>
                    <a:pt x="107" y="165"/>
                  </a:lnTo>
                  <a:lnTo>
                    <a:pt x="112" y="167"/>
                  </a:lnTo>
                  <a:lnTo>
                    <a:pt x="117" y="169"/>
                  </a:lnTo>
                  <a:lnTo>
                    <a:pt x="122" y="170"/>
                  </a:lnTo>
                  <a:lnTo>
                    <a:pt x="127" y="170"/>
                  </a:lnTo>
                  <a:lnTo>
                    <a:pt x="132" y="172"/>
                  </a:lnTo>
                  <a:lnTo>
                    <a:pt x="139" y="174"/>
                  </a:lnTo>
                  <a:lnTo>
                    <a:pt x="144" y="175"/>
                  </a:lnTo>
                  <a:lnTo>
                    <a:pt x="149" y="175"/>
                  </a:lnTo>
                  <a:lnTo>
                    <a:pt x="155" y="177"/>
                  </a:lnTo>
                  <a:lnTo>
                    <a:pt x="160" y="179"/>
                  </a:lnTo>
                  <a:lnTo>
                    <a:pt x="167" y="180"/>
                  </a:lnTo>
                  <a:lnTo>
                    <a:pt x="172" y="182"/>
                  </a:lnTo>
                  <a:lnTo>
                    <a:pt x="179" y="185"/>
                  </a:lnTo>
                  <a:lnTo>
                    <a:pt x="184" y="187"/>
                  </a:lnTo>
                  <a:lnTo>
                    <a:pt x="190" y="190"/>
                  </a:lnTo>
                  <a:lnTo>
                    <a:pt x="195" y="192"/>
                  </a:lnTo>
                  <a:lnTo>
                    <a:pt x="202" y="194"/>
                  </a:lnTo>
                  <a:lnTo>
                    <a:pt x="209" y="195"/>
                  </a:lnTo>
                  <a:lnTo>
                    <a:pt x="214" y="199"/>
                  </a:lnTo>
                  <a:lnTo>
                    <a:pt x="220" y="202"/>
                  </a:lnTo>
                  <a:lnTo>
                    <a:pt x="227" y="204"/>
                  </a:lnTo>
                  <a:lnTo>
                    <a:pt x="232" y="207"/>
                  </a:lnTo>
                  <a:lnTo>
                    <a:pt x="240" y="212"/>
                  </a:lnTo>
                  <a:lnTo>
                    <a:pt x="245" y="214"/>
                  </a:lnTo>
                  <a:lnTo>
                    <a:pt x="252" y="217"/>
                  </a:lnTo>
                  <a:lnTo>
                    <a:pt x="257" y="221"/>
                  </a:lnTo>
                  <a:lnTo>
                    <a:pt x="264" y="226"/>
                  </a:lnTo>
                  <a:lnTo>
                    <a:pt x="269" y="227"/>
                  </a:lnTo>
                  <a:lnTo>
                    <a:pt x="275" y="232"/>
                  </a:lnTo>
                  <a:lnTo>
                    <a:pt x="280" y="237"/>
                  </a:lnTo>
                  <a:lnTo>
                    <a:pt x="287" y="242"/>
                  </a:lnTo>
                  <a:lnTo>
                    <a:pt x="292" y="246"/>
                  </a:lnTo>
                  <a:lnTo>
                    <a:pt x="299" y="251"/>
                  </a:lnTo>
                  <a:lnTo>
                    <a:pt x="304" y="256"/>
                  </a:lnTo>
                  <a:lnTo>
                    <a:pt x="309" y="261"/>
                  </a:lnTo>
                  <a:lnTo>
                    <a:pt x="314" y="266"/>
                  </a:lnTo>
                  <a:lnTo>
                    <a:pt x="320" y="271"/>
                  </a:lnTo>
                  <a:lnTo>
                    <a:pt x="325" y="277"/>
                  </a:lnTo>
                  <a:lnTo>
                    <a:pt x="332" y="282"/>
                  </a:lnTo>
                  <a:lnTo>
                    <a:pt x="336" y="287"/>
                  </a:lnTo>
                  <a:lnTo>
                    <a:pt x="341" y="291"/>
                  </a:lnTo>
                  <a:lnTo>
                    <a:pt x="344" y="296"/>
                  </a:lnTo>
                  <a:lnTo>
                    <a:pt x="349" y="299"/>
                  </a:lnTo>
                  <a:lnTo>
                    <a:pt x="354" y="304"/>
                  </a:lnTo>
                  <a:lnTo>
                    <a:pt x="357" y="309"/>
                  </a:lnTo>
                  <a:lnTo>
                    <a:pt x="361" y="314"/>
                  </a:lnTo>
                  <a:lnTo>
                    <a:pt x="366" y="317"/>
                  </a:lnTo>
                  <a:lnTo>
                    <a:pt x="369" y="322"/>
                  </a:lnTo>
                  <a:lnTo>
                    <a:pt x="372" y="327"/>
                  </a:lnTo>
                  <a:lnTo>
                    <a:pt x="376" y="332"/>
                  </a:lnTo>
                  <a:lnTo>
                    <a:pt x="379" y="337"/>
                  </a:lnTo>
                  <a:lnTo>
                    <a:pt x="382" y="342"/>
                  </a:lnTo>
                  <a:lnTo>
                    <a:pt x="386" y="346"/>
                  </a:lnTo>
                  <a:lnTo>
                    <a:pt x="389" y="351"/>
                  </a:lnTo>
                  <a:lnTo>
                    <a:pt x="392" y="356"/>
                  </a:lnTo>
                  <a:lnTo>
                    <a:pt x="396" y="361"/>
                  </a:lnTo>
                  <a:lnTo>
                    <a:pt x="399" y="366"/>
                  </a:lnTo>
                  <a:lnTo>
                    <a:pt x="401" y="371"/>
                  </a:lnTo>
                  <a:lnTo>
                    <a:pt x="404" y="376"/>
                  </a:lnTo>
                  <a:lnTo>
                    <a:pt x="407" y="381"/>
                  </a:lnTo>
                  <a:lnTo>
                    <a:pt x="409" y="386"/>
                  </a:lnTo>
                  <a:lnTo>
                    <a:pt x="411" y="391"/>
                  </a:lnTo>
                  <a:lnTo>
                    <a:pt x="414" y="396"/>
                  </a:lnTo>
                  <a:lnTo>
                    <a:pt x="416" y="401"/>
                  </a:lnTo>
                  <a:lnTo>
                    <a:pt x="419" y="406"/>
                  </a:lnTo>
                  <a:lnTo>
                    <a:pt x="421" y="411"/>
                  </a:lnTo>
                  <a:lnTo>
                    <a:pt x="424" y="416"/>
                  </a:lnTo>
                  <a:lnTo>
                    <a:pt x="424" y="421"/>
                  </a:lnTo>
                  <a:lnTo>
                    <a:pt x="427" y="426"/>
                  </a:lnTo>
                  <a:lnTo>
                    <a:pt x="429" y="431"/>
                  </a:lnTo>
                  <a:lnTo>
                    <a:pt x="431" y="436"/>
                  </a:lnTo>
                  <a:lnTo>
                    <a:pt x="432" y="441"/>
                  </a:lnTo>
                  <a:lnTo>
                    <a:pt x="434" y="446"/>
                  </a:lnTo>
                  <a:lnTo>
                    <a:pt x="436" y="451"/>
                  </a:lnTo>
                  <a:lnTo>
                    <a:pt x="437" y="456"/>
                  </a:lnTo>
                  <a:lnTo>
                    <a:pt x="437" y="461"/>
                  </a:lnTo>
                  <a:lnTo>
                    <a:pt x="439" y="466"/>
                  </a:lnTo>
                  <a:lnTo>
                    <a:pt x="441" y="469"/>
                  </a:lnTo>
                  <a:lnTo>
                    <a:pt x="442" y="476"/>
                  </a:lnTo>
                  <a:lnTo>
                    <a:pt x="444" y="481"/>
                  </a:lnTo>
                  <a:lnTo>
                    <a:pt x="444" y="484"/>
                  </a:lnTo>
                  <a:lnTo>
                    <a:pt x="444" y="489"/>
                  </a:lnTo>
                  <a:lnTo>
                    <a:pt x="446" y="494"/>
                  </a:lnTo>
                  <a:lnTo>
                    <a:pt x="447" y="499"/>
                  </a:lnTo>
                  <a:lnTo>
                    <a:pt x="447" y="504"/>
                  </a:lnTo>
                  <a:lnTo>
                    <a:pt x="449" y="509"/>
                  </a:lnTo>
                  <a:lnTo>
                    <a:pt x="451" y="514"/>
                  </a:lnTo>
                  <a:lnTo>
                    <a:pt x="451" y="518"/>
                  </a:lnTo>
                  <a:lnTo>
                    <a:pt x="451" y="523"/>
                  </a:lnTo>
                  <a:lnTo>
                    <a:pt x="452" y="526"/>
                  </a:lnTo>
                  <a:lnTo>
                    <a:pt x="452" y="531"/>
                  </a:lnTo>
                  <a:lnTo>
                    <a:pt x="452" y="536"/>
                  </a:lnTo>
                  <a:lnTo>
                    <a:pt x="454" y="539"/>
                  </a:lnTo>
                  <a:lnTo>
                    <a:pt x="454" y="544"/>
                  </a:lnTo>
                  <a:lnTo>
                    <a:pt x="456" y="549"/>
                  </a:lnTo>
                  <a:lnTo>
                    <a:pt x="456" y="556"/>
                  </a:lnTo>
                  <a:lnTo>
                    <a:pt x="457" y="566"/>
                  </a:lnTo>
                  <a:lnTo>
                    <a:pt x="457" y="573"/>
                  </a:lnTo>
                  <a:lnTo>
                    <a:pt x="457" y="581"/>
                  </a:lnTo>
                  <a:lnTo>
                    <a:pt x="457" y="584"/>
                  </a:lnTo>
                  <a:lnTo>
                    <a:pt x="457" y="588"/>
                  </a:lnTo>
                  <a:lnTo>
                    <a:pt x="457" y="591"/>
                  </a:lnTo>
                  <a:lnTo>
                    <a:pt x="457" y="598"/>
                  </a:lnTo>
                  <a:lnTo>
                    <a:pt x="457" y="603"/>
                  </a:lnTo>
                  <a:lnTo>
                    <a:pt x="456" y="610"/>
                  </a:lnTo>
                  <a:lnTo>
                    <a:pt x="456" y="616"/>
                  </a:lnTo>
                  <a:lnTo>
                    <a:pt x="454" y="625"/>
                  </a:lnTo>
                  <a:lnTo>
                    <a:pt x="452" y="631"/>
                  </a:lnTo>
                  <a:lnTo>
                    <a:pt x="451" y="640"/>
                  </a:lnTo>
                  <a:lnTo>
                    <a:pt x="449" y="645"/>
                  </a:lnTo>
                  <a:lnTo>
                    <a:pt x="449" y="650"/>
                  </a:lnTo>
                  <a:lnTo>
                    <a:pt x="447" y="655"/>
                  </a:lnTo>
                  <a:lnTo>
                    <a:pt x="447" y="658"/>
                  </a:lnTo>
                  <a:lnTo>
                    <a:pt x="446" y="663"/>
                  </a:lnTo>
                  <a:lnTo>
                    <a:pt x="446" y="668"/>
                  </a:lnTo>
                  <a:lnTo>
                    <a:pt x="444" y="673"/>
                  </a:lnTo>
                  <a:lnTo>
                    <a:pt x="444" y="678"/>
                  </a:lnTo>
                  <a:lnTo>
                    <a:pt x="441" y="683"/>
                  </a:lnTo>
                  <a:lnTo>
                    <a:pt x="441" y="690"/>
                  </a:lnTo>
                  <a:lnTo>
                    <a:pt x="439" y="695"/>
                  </a:lnTo>
                  <a:lnTo>
                    <a:pt x="439" y="700"/>
                  </a:lnTo>
                  <a:lnTo>
                    <a:pt x="436" y="705"/>
                  </a:lnTo>
                  <a:lnTo>
                    <a:pt x="434" y="710"/>
                  </a:lnTo>
                  <a:lnTo>
                    <a:pt x="432" y="715"/>
                  </a:lnTo>
                  <a:lnTo>
                    <a:pt x="431" y="721"/>
                  </a:lnTo>
                  <a:lnTo>
                    <a:pt x="427" y="725"/>
                  </a:lnTo>
                  <a:lnTo>
                    <a:pt x="427" y="731"/>
                  </a:lnTo>
                  <a:lnTo>
                    <a:pt x="424" y="736"/>
                  </a:lnTo>
                  <a:lnTo>
                    <a:pt x="422" y="743"/>
                  </a:lnTo>
                  <a:lnTo>
                    <a:pt x="419" y="748"/>
                  </a:lnTo>
                  <a:lnTo>
                    <a:pt x="417" y="755"/>
                  </a:lnTo>
                  <a:lnTo>
                    <a:pt x="414" y="758"/>
                  </a:lnTo>
                  <a:lnTo>
                    <a:pt x="412" y="765"/>
                  </a:lnTo>
                  <a:lnTo>
                    <a:pt x="409" y="771"/>
                  </a:lnTo>
                  <a:lnTo>
                    <a:pt x="407" y="777"/>
                  </a:lnTo>
                  <a:lnTo>
                    <a:pt x="404" y="782"/>
                  </a:lnTo>
                  <a:lnTo>
                    <a:pt x="401" y="788"/>
                  </a:lnTo>
                  <a:lnTo>
                    <a:pt x="397" y="793"/>
                  </a:lnTo>
                  <a:lnTo>
                    <a:pt x="394" y="798"/>
                  </a:lnTo>
                  <a:lnTo>
                    <a:pt x="391" y="805"/>
                  </a:lnTo>
                  <a:lnTo>
                    <a:pt x="387" y="810"/>
                  </a:lnTo>
                  <a:lnTo>
                    <a:pt x="384" y="815"/>
                  </a:lnTo>
                  <a:lnTo>
                    <a:pt x="379" y="822"/>
                  </a:lnTo>
                  <a:lnTo>
                    <a:pt x="376" y="827"/>
                  </a:lnTo>
                  <a:lnTo>
                    <a:pt x="372" y="832"/>
                  </a:lnTo>
                  <a:lnTo>
                    <a:pt x="367" y="837"/>
                  </a:lnTo>
                  <a:lnTo>
                    <a:pt x="364" y="843"/>
                  </a:lnTo>
                  <a:lnTo>
                    <a:pt x="359" y="847"/>
                  </a:lnTo>
                  <a:lnTo>
                    <a:pt x="356" y="853"/>
                  </a:lnTo>
                  <a:lnTo>
                    <a:pt x="351" y="858"/>
                  </a:lnTo>
                  <a:lnTo>
                    <a:pt x="346" y="862"/>
                  </a:lnTo>
                  <a:lnTo>
                    <a:pt x="341" y="867"/>
                  </a:lnTo>
                  <a:lnTo>
                    <a:pt x="336" y="873"/>
                  </a:lnTo>
                  <a:lnTo>
                    <a:pt x="334" y="873"/>
                  </a:lnTo>
                  <a:lnTo>
                    <a:pt x="331" y="877"/>
                  </a:lnTo>
                  <a:lnTo>
                    <a:pt x="327" y="880"/>
                  </a:lnTo>
                  <a:lnTo>
                    <a:pt x="325" y="882"/>
                  </a:lnTo>
                  <a:lnTo>
                    <a:pt x="320" y="885"/>
                  </a:lnTo>
                  <a:lnTo>
                    <a:pt x="317" y="890"/>
                  </a:lnTo>
                  <a:lnTo>
                    <a:pt x="310" y="893"/>
                  </a:lnTo>
                  <a:lnTo>
                    <a:pt x="305" y="898"/>
                  </a:lnTo>
                  <a:lnTo>
                    <a:pt x="299" y="903"/>
                  </a:lnTo>
                  <a:lnTo>
                    <a:pt x="294" y="910"/>
                  </a:lnTo>
                  <a:lnTo>
                    <a:pt x="285" y="913"/>
                  </a:lnTo>
                  <a:lnTo>
                    <a:pt x="277" y="920"/>
                  </a:lnTo>
                  <a:lnTo>
                    <a:pt x="269" y="925"/>
                  </a:lnTo>
                  <a:lnTo>
                    <a:pt x="260" y="932"/>
                  </a:lnTo>
                  <a:lnTo>
                    <a:pt x="255" y="933"/>
                  </a:lnTo>
                  <a:lnTo>
                    <a:pt x="250" y="937"/>
                  </a:lnTo>
                  <a:lnTo>
                    <a:pt x="245" y="940"/>
                  </a:lnTo>
                  <a:lnTo>
                    <a:pt x="242" y="943"/>
                  </a:lnTo>
                  <a:lnTo>
                    <a:pt x="235" y="945"/>
                  </a:lnTo>
                  <a:lnTo>
                    <a:pt x="230" y="947"/>
                  </a:lnTo>
                  <a:lnTo>
                    <a:pt x="225" y="950"/>
                  </a:lnTo>
                  <a:lnTo>
                    <a:pt x="219" y="953"/>
                  </a:lnTo>
                  <a:lnTo>
                    <a:pt x="212" y="957"/>
                  </a:lnTo>
                  <a:lnTo>
                    <a:pt x="207" y="959"/>
                  </a:lnTo>
                  <a:lnTo>
                    <a:pt x="200" y="962"/>
                  </a:lnTo>
                  <a:lnTo>
                    <a:pt x="194" y="964"/>
                  </a:lnTo>
                  <a:lnTo>
                    <a:pt x="187" y="965"/>
                  </a:lnTo>
                  <a:lnTo>
                    <a:pt x="180" y="969"/>
                  </a:lnTo>
                  <a:lnTo>
                    <a:pt x="175" y="970"/>
                  </a:lnTo>
                  <a:lnTo>
                    <a:pt x="169" y="974"/>
                  </a:lnTo>
                  <a:lnTo>
                    <a:pt x="160" y="975"/>
                  </a:lnTo>
                  <a:lnTo>
                    <a:pt x="154" y="979"/>
                  </a:lnTo>
                  <a:lnTo>
                    <a:pt x="145" y="979"/>
                  </a:lnTo>
                  <a:lnTo>
                    <a:pt x="139" y="982"/>
                  </a:lnTo>
                  <a:lnTo>
                    <a:pt x="130" y="984"/>
                  </a:lnTo>
                  <a:lnTo>
                    <a:pt x="124" y="985"/>
                  </a:lnTo>
                  <a:lnTo>
                    <a:pt x="115" y="987"/>
                  </a:lnTo>
                  <a:lnTo>
                    <a:pt x="107" y="989"/>
                  </a:lnTo>
                  <a:lnTo>
                    <a:pt x="98" y="989"/>
                  </a:lnTo>
                  <a:lnTo>
                    <a:pt x="90" y="990"/>
                  </a:lnTo>
                  <a:lnTo>
                    <a:pt x="80" y="992"/>
                  </a:lnTo>
                  <a:lnTo>
                    <a:pt x="73" y="994"/>
                  </a:lnTo>
                  <a:lnTo>
                    <a:pt x="63" y="994"/>
                  </a:lnTo>
                  <a:lnTo>
                    <a:pt x="55" y="995"/>
                  </a:lnTo>
                  <a:lnTo>
                    <a:pt x="45" y="995"/>
                  </a:lnTo>
                  <a:lnTo>
                    <a:pt x="37" y="99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13" name="Freeform 6"/>
            <p:cNvSpPr/>
            <p:nvPr/>
          </p:nvSpPr>
          <p:spPr bwMode="auto">
            <a:xfrm>
              <a:off x="884" y="2387"/>
              <a:ext cx="617" cy="1159"/>
            </a:xfrm>
            <a:custGeom>
              <a:avLst/>
              <a:gdLst>
                <a:gd name="T0" fmla="*/ 395 w 617"/>
                <a:gd name="T1" fmla="*/ 102 h 1159"/>
                <a:gd name="T2" fmla="*/ 108 w 617"/>
                <a:gd name="T3" fmla="*/ 232 h 1159"/>
                <a:gd name="T4" fmla="*/ 1 w 617"/>
                <a:gd name="T5" fmla="*/ 519 h 1159"/>
                <a:gd name="T6" fmla="*/ 0 w 617"/>
                <a:gd name="T7" fmla="*/ 556 h 1159"/>
                <a:gd name="T8" fmla="*/ 0 w 617"/>
                <a:gd name="T9" fmla="*/ 593 h 1159"/>
                <a:gd name="T10" fmla="*/ 0 w 617"/>
                <a:gd name="T11" fmla="*/ 630 h 1159"/>
                <a:gd name="T12" fmla="*/ 183 w 617"/>
                <a:gd name="T13" fmla="*/ 905 h 1159"/>
                <a:gd name="T14" fmla="*/ 502 w 617"/>
                <a:gd name="T15" fmla="*/ 1084 h 1159"/>
                <a:gd name="T16" fmla="*/ 575 w 617"/>
                <a:gd name="T17" fmla="*/ 997 h 1159"/>
                <a:gd name="T18" fmla="*/ 545 w 617"/>
                <a:gd name="T19" fmla="*/ 995 h 1159"/>
                <a:gd name="T20" fmla="*/ 515 w 617"/>
                <a:gd name="T21" fmla="*/ 990 h 1159"/>
                <a:gd name="T22" fmla="*/ 492 w 617"/>
                <a:gd name="T23" fmla="*/ 985 h 1159"/>
                <a:gd name="T24" fmla="*/ 464 w 617"/>
                <a:gd name="T25" fmla="*/ 979 h 1159"/>
                <a:gd name="T26" fmla="*/ 435 w 617"/>
                <a:gd name="T27" fmla="*/ 970 h 1159"/>
                <a:gd name="T28" fmla="*/ 403 w 617"/>
                <a:gd name="T29" fmla="*/ 959 h 1159"/>
                <a:gd name="T30" fmla="*/ 373 w 617"/>
                <a:gd name="T31" fmla="*/ 943 h 1159"/>
                <a:gd name="T32" fmla="*/ 342 w 617"/>
                <a:gd name="T33" fmla="*/ 925 h 1159"/>
                <a:gd name="T34" fmla="*/ 313 w 617"/>
                <a:gd name="T35" fmla="*/ 903 h 1159"/>
                <a:gd name="T36" fmla="*/ 287 w 617"/>
                <a:gd name="T37" fmla="*/ 877 h 1159"/>
                <a:gd name="T38" fmla="*/ 263 w 617"/>
                <a:gd name="T39" fmla="*/ 855 h 1159"/>
                <a:gd name="T40" fmla="*/ 243 w 617"/>
                <a:gd name="T41" fmla="*/ 832 h 1159"/>
                <a:gd name="T42" fmla="*/ 227 w 617"/>
                <a:gd name="T43" fmla="*/ 808 h 1159"/>
                <a:gd name="T44" fmla="*/ 210 w 617"/>
                <a:gd name="T45" fmla="*/ 783 h 1159"/>
                <a:gd name="T46" fmla="*/ 198 w 617"/>
                <a:gd name="T47" fmla="*/ 758 h 1159"/>
                <a:gd name="T48" fmla="*/ 188 w 617"/>
                <a:gd name="T49" fmla="*/ 733 h 1159"/>
                <a:gd name="T50" fmla="*/ 180 w 617"/>
                <a:gd name="T51" fmla="*/ 708 h 1159"/>
                <a:gd name="T52" fmla="*/ 173 w 617"/>
                <a:gd name="T53" fmla="*/ 683 h 1159"/>
                <a:gd name="T54" fmla="*/ 166 w 617"/>
                <a:gd name="T55" fmla="*/ 660 h 1159"/>
                <a:gd name="T56" fmla="*/ 163 w 617"/>
                <a:gd name="T57" fmla="*/ 636 h 1159"/>
                <a:gd name="T58" fmla="*/ 160 w 617"/>
                <a:gd name="T59" fmla="*/ 605 h 1159"/>
                <a:gd name="T60" fmla="*/ 158 w 617"/>
                <a:gd name="T61" fmla="*/ 569 h 1159"/>
                <a:gd name="T62" fmla="*/ 158 w 617"/>
                <a:gd name="T63" fmla="*/ 544 h 1159"/>
                <a:gd name="T64" fmla="*/ 163 w 617"/>
                <a:gd name="T65" fmla="*/ 509 h 1159"/>
                <a:gd name="T66" fmla="*/ 168 w 617"/>
                <a:gd name="T67" fmla="*/ 484 h 1159"/>
                <a:gd name="T68" fmla="*/ 175 w 617"/>
                <a:gd name="T69" fmla="*/ 461 h 1159"/>
                <a:gd name="T70" fmla="*/ 183 w 617"/>
                <a:gd name="T71" fmla="*/ 434 h 1159"/>
                <a:gd name="T72" fmla="*/ 193 w 617"/>
                <a:gd name="T73" fmla="*/ 404 h 1159"/>
                <a:gd name="T74" fmla="*/ 206 w 617"/>
                <a:gd name="T75" fmla="*/ 377 h 1159"/>
                <a:gd name="T76" fmla="*/ 223 w 617"/>
                <a:gd name="T77" fmla="*/ 349 h 1159"/>
                <a:gd name="T78" fmla="*/ 242 w 617"/>
                <a:gd name="T79" fmla="*/ 324 h 1159"/>
                <a:gd name="T80" fmla="*/ 265 w 617"/>
                <a:gd name="T81" fmla="*/ 299 h 1159"/>
                <a:gd name="T82" fmla="*/ 285 w 617"/>
                <a:gd name="T83" fmla="*/ 281 h 1159"/>
                <a:gd name="T84" fmla="*/ 303 w 617"/>
                <a:gd name="T85" fmla="*/ 261 h 1159"/>
                <a:gd name="T86" fmla="*/ 337 w 617"/>
                <a:gd name="T87" fmla="*/ 236 h 1159"/>
                <a:gd name="T88" fmla="*/ 358 w 617"/>
                <a:gd name="T89" fmla="*/ 222 h 1159"/>
                <a:gd name="T90" fmla="*/ 383 w 617"/>
                <a:gd name="T91" fmla="*/ 207 h 1159"/>
                <a:gd name="T92" fmla="*/ 413 w 617"/>
                <a:gd name="T93" fmla="*/ 192 h 1159"/>
                <a:gd name="T94" fmla="*/ 447 w 617"/>
                <a:gd name="T95" fmla="*/ 182 h 1159"/>
                <a:gd name="T96" fmla="*/ 484 w 617"/>
                <a:gd name="T97" fmla="*/ 170 h 1159"/>
                <a:gd name="T98" fmla="*/ 525 w 617"/>
                <a:gd name="T99" fmla="*/ 164 h 1159"/>
                <a:gd name="T100" fmla="*/ 569 w 617"/>
                <a:gd name="T101" fmla="*/ 160 h 11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17"/>
                <a:gd name="T154" fmla="*/ 0 h 1159"/>
                <a:gd name="T155" fmla="*/ 617 w 617"/>
                <a:gd name="T156" fmla="*/ 1159 h 115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17" h="1159">
                  <a:moveTo>
                    <a:pt x="579" y="160"/>
                  </a:moveTo>
                  <a:lnTo>
                    <a:pt x="577" y="0"/>
                  </a:lnTo>
                  <a:lnTo>
                    <a:pt x="524" y="0"/>
                  </a:lnTo>
                  <a:lnTo>
                    <a:pt x="504" y="72"/>
                  </a:lnTo>
                  <a:lnTo>
                    <a:pt x="395" y="102"/>
                  </a:lnTo>
                  <a:lnTo>
                    <a:pt x="323" y="52"/>
                  </a:lnTo>
                  <a:lnTo>
                    <a:pt x="245" y="100"/>
                  </a:lnTo>
                  <a:lnTo>
                    <a:pt x="248" y="182"/>
                  </a:lnTo>
                  <a:lnTo>
                    <a:pt x="190" y="246"/>
                  </a:lnTo>
                  <a:lnTo>
                    <a:pt x="108" y="232"/>
                  </a:lnTo>
                  <a:lnTo>
                    <a:pt x="55" y="322"/>
                  </a:lnTo>
                  <a:lnTo>
                    <a:pt x="101" y="389"/>
                  </a:lnTo>
                  <a:lnTo>
                    <a:pt x="70" y="503"/>
                  </a:lnTo>
                  <a:lnTo>
                    <a:pt x="1" y="514"/>
                  </a:lnTo>
                  <a:lnTo>
                    <a:pt x="1" y="519"/>
                  </a:lnTo>
                  <a:lnTo>
                    <a:pt x="0" y="528"/>
                  </a:lnTo>
                  <a:lnTo>
                    <a:pt x="0" y="534"/>
                  </a:lnTo>
                  <a:lnTo>
                    <a:pt x="0" y="541"/>
                  </a:lnTo>
                  <a:lnTo>
                    <a:pt x="0" y="549"/>
                  </a:lnTo>
                  <a:lnTo>
                    <a:pt x="0" y="556"/>
                  </a:lnTo>
                  <a:lnTo>
                    <a:pt x="0" y="563"/>
                  </a:lnTo>
                  <a:lnTo>
                    <a:pt x="0" y="571"/>
                  </a:lnTo>
                  <a:lnTo>
                    <a:pt x="0" y="578"/>
                  </a:lnTo>
                  <a:lnTo>
                    <a:pt x="0" y="586"/>
                  </a:lnTo>
                  <a:lnTo>
                    <a:pt x="0" y="593"/>
                  </a:lnTo>
                  <a:lnTo>
                    <a:pt x="0" y="600"/>
                  </a:lnTo>
                  <a:lnTo>
                    <a:pt x="0" y="606"/>
                  </a:lnTo>
                  <a:lnTo>
                    <a:pt x="0" y="615"/>
                  </a:lnTo>
                  <a:lnTo>
                    <a:pt x="0" y="621"/>
                  </a:lnTo>
                  <a:lnTo>
                    <a:pt x="0" y="630"/>
                  </a:lnTo>
                  <a:lnTo>
                    <a:pt x="71" y="650"/>
                  </a:lnTo>
                  <a:lnTo>
                    <a:pt x="101" y="758"/>
                  </a:lnTo>
                  <a:lnTo>
                    <a:pt x="60" y="842"/>
                  </a:lnTo>
                  <a:lnTo>
                    <a:pt x="83" y="887"/>
                  </a:lnTo>
                  <a:lnTo>
                    <a:pt x="183" y="905"/>
                  </a:lnTo>
                  <a:lnTo>
                    <a:pt x="243" y="964"/>
                  </a:lnTo>
                  <a:lnTo>
                    <a:pt x="252" y="1060"/>
                  </a:lnTo>
                  <a:lnTo>
                    <a:pt x="300" y="1090"/>
                  </a:lnTo>
                  <a:lnTo>
                    <a:pt x="388" y="1052"/>
                  </a:lnTo>
                  <a:lnTo>
                    <a:pt x="502" y="1084"/>
                  </a:lnTo>
                  <a:lnTo>
                    <a:pt x="547" y="1159"/>
                  </a:lnTo>
                  <a:lnTo>
                    <a:pt x="580" y="1156"/>
                  </a:lnTo>
                  <a:lnTo>
                    <a:pt x="617" y="1082"/>
                  </a:lnTo>
                  <a:lnTo>
                    <a:pt x="577" y="997"/>
                  </a:lnTo>
                  <a:lnTo>
                    <a:pt x="575" y="997"/>
                  </a:lnTo>
                  <a:lnTo>
                    <a:pt x="569" y="997"/>
                  </a:lnTo>
                  <a:lnTo>
                    <a:pt x="562" y="997"/>
                  </a:lnTo>
                  <a:lnTo>
                    <a:pt x="559" y="997"/>
                  </a:lnTo>
                  <a:lnTo>
                    <a:pt x="552" y="995"/>
                  </a:lnTo>
                  <a:lnTo>
                    <a:pt x="545" y="995"/>
                  </a:lnTo>
                  <a:lnTo>
                    <a:pt x="539" y="994"/>
                  </a:lnTo>
                  <a:lnTo>
                    <a:pt x="530" y="992"/>
                  </a:lnTo>
                  <a:lnTo>
                    <a:pt x="525" y="992"/>
                  </a:lnTo>
                  <a:lnTo>
                    <a:pt x="520" y="990"/>
                  </a:lnTo>
                  <a:lnTo>
                    <a:pt x="515" y="990"/>
                  </a:lnTo>
                  <a:lnTo>
                    <a:pt x="512" y="990"/>
                  </a:lnTo>
                  <a:lnTo>
                    <a:pt x="507" y="989"/>
                  </a:lnTo>
                  <a:lnTo>
                    <a:pt x="502" y="987"/>
                  </a:lnTo>
                  <a:lnTo>
                    <a:pt x="495" y="987"/>
                  </a:lnTo>
                  <a:lnTo>
                    <a:pt x="492" y="985"/>
                  </a:lnTo>
                  <a:lnTo>
                    <a:pt x="485" y="984"/>
                  </a:lnTo>
                  <a:lnTo>
                    <a:pt x="480" y="984"/>
                  </a:lnTo>
                  <a:lnTo>
                    <a:pt x="475" y="982"/>
                  </a:lnTo>
                  <a:lnTo>
                    <a:pt x="470" y="980"/>
                  </a:lnTo>
                  <a:lnTo>
                    <a:pt x="464" y="979"/>
                  </a:lnTo>
                  <a:lnTo>
                    <a:pt x="459" y="977"/>
                  </a:lnTo>
                  <a:lnTo>
                    <a:pt x="452" y="975"/>
                  </a:lnTo>
                  <a:lnTo>
                    <a:pt x="447" y="974"/>
                  </a:lnTo>
                  <a:lnTo>
                    <a:pt x="440" y="972"/>
                  </a:lnTo>
                  <a:lnTo>
                    <a:pt x="435" y="970"/>
                  </a:lnTo>
                  <a:lnTo>
                    <a:pt x="429" y="967"/>
                  </a:lnTo>
                  <a:lnTo>
                    <a:pt x="423" y="965"/>
                  </a:lnTo>
                  <a:lnTo>
                    <a:pt x="417" y="962"/>
                  </a:lnTo>
                  <a:lnTo>
                    <a:pt x="410" y="960"/>
                  </a:lnTo>
                  <a:lnTo>
                    <a:pt x="403" y="959"/>
                  </a:lnTo>
                  <a:lnTo>
                    <a:pt x="398" y="955"/>
                  </a:lnTo>
                  <a:lnTo>
                    <a:pt x="392" y="952"/>
                  </a:lnTo>
                  <a:lnTo>
                    <a:pt x="385" y="948"/>
                  </a:lnTo>
                  <a:lnTo>
                    <a:pt x="378" y="945"/>
                  </a:lnTo>
                  <a:lnTo>
                    <a:pt x="373" y="943"/>
                  </a:lnTo>
                  <a:lnTo>
                    <a:pt x="367" y="940"/>
                  </a:lnTo>
                  <a:lnTo>
                    <a:pt x="360" y="937"/>
                  </a:lnTo>
                  <a:lnTo>
                    <a:pt x="355" y="932"/>
                  </a:lnTo>
                  <a:lnTo>
                    <a:pt x="348" y="928"/>
                  </a:lnTo>
                  <a:lnTo>
                    <a:pt x="342" y="925"/>
                  </a:lnTo>
                  <a:lnTo>
                    <a:pt x="337" y="920"/>
                  </a:lnTo>
                  <a:lnTo>
                    <a:pt x="330" y="917"/>
                  </a:lnTo>
                  <a:lnTo>
                    <a:pt x="325" y="912"/>
                  </a:lnTo>
                  <a:lnTo>
                    <a:pt x="318" y="908"/>
                  </a:lnTo>
                  <a:lnTo>
                    <a:pt x="313" y="903"/>
                  </a:lnTo>
                  <a:lnTo>
                    <a:pt x="307" y="898"/>
                  </a:lnTo>
                  <a:lnTo>
                    <a:pt x="303" y="893"/>
                  </a:lnTo>
                  <a:lnTo>
                    <a:pt x="297" y="888"/>
                  </a:lnTo>
                  <a:lnTo>
                    <a:pt x="292" y="883"/>
                  </a:lnTo>
                  <a:lnTo>
                    <a:pt x="287" y="877"/>
                  </a:lnTo>
                  <a:lnTo>
                    <a:pt x="282" y="873"/>
                  </a:lnTo>
                  <a:lnTo>
                    <a:pt x="277" y="868"/>
                  </a:lnTo>
                  <a:lnTo>
                    <a:pt x="273" y="863"/>
                  </a:lnTo>
                  <a:lnTo>
                    <a:pt x="268" y="858"/>
                  </a:lnTo>
                  <a:lnTo>
                    <a:pt x="263" y="855"/>
                  </a:lnTo>
                  <a:lnTo>
                    <a:pt x="258" y="850"/>
                  </a:lnTo>
                  <a:lnTo>
                    <a:pt x="255" y="845"/>
                  </a:lnTo>
                  <a:lnTo>
                    <a:pt x="252" y="842"/>
                  </a:lnTo>
                  <a:lnTo>
                    <a:pt x="248" y="837"/>
                  </a:lnTo>
                  <a:lnTo>
                    <a:pt x="243" y="832"/>
                  </a:lnTo>
                  <a:lnTo>
                    <a:pt x="240" y="827"/>
                  </a:lnTo>
                  <a:lnTo>
                    <a:pt x="237" y="823"/>
                  </a:lnTo>
                  <a:lnTo>
                    <a:pt x="233" y="818"/>
                  </a:lnTo>
                  <a:lnTo>
                    <a:pt x="230" y="813"/>
                  </a:lnTo>
                  <a:lnTo>
                    <a:pt x="227" y="808"/>
                  </a:lnTo>
                  <a:lnTo>
                    <a:pt x="223" y="803"/>
                  </a:lnTo>
                  <a:lnTo>
                    <a:pt x="222" y="798"/>
                  </a:lnTo>
                  <a:lnTo>
                    <a:pt x="217" y="793"/>
                  </a:lnTo>
                  <a:lnTo>
                    <a:pt x="213" y="788"/>
                  </a:lnTo>
                  <a:lnTo>
                    <a:pt x="210" y="783"/>
                  </a:lnTo>
                  <a:lnTo>
                    <a:pt x="208" y="778"/>
                  </a:lnTo>
                  <a:lnTo>
                    <a:pt x="206" y="773"/>
                  </a:lnTo>
                  <a:lnTo>
                    <a:pt x="203" y="768"/>
                  </a:lnTo>
                  <a:lnTo>
                    <a:pt x="201" y="763"/>
                  </a:lnTo>
                  <a:lnTo>
                    <a:pt x="198" y="758"/>
                  </a:lnTo>
                  <a:lnTo>
                    <a:pt x="196" y="753"/>
                  </a:lnTo>
                  <a:lnTo>
                    <a:pt x="193" y="748"/>
                  </a:lnTo>
                  <a:lnTo>
                    <a:pt x="191" y="743"/>
                  </a:lnTo>
                  <a:lnTo>
                    <a:pt x="190" y="738"/>
                  </a:lnTo>
                  <a:lnTo>
                    <a:pt x="188" y="733"/>
                  </a:lnTo>
                  <a:lnTo>
                    <a:pt x="186" y="728"/>
                  </a:lnTo>
                  <a:lnTo>
                    <a:pt x="185" y="723"/>
                  </a:lnTo>
                  <a:lnTo>
                    <a:pt x="183" y="720"/>
                  </a:lnTo>
                  <a:lnTo>
                    <a:pt x="181" y="713"/>
                  </a:lnTo>
                  <a:lnTo>
                    <a:pt x="180" y="708"/>
                  </a:lnTo>
                  <a:lnTo>
                    <a:pt x="178" y="703"/>
                  </a:lnTo>
                  <a:lnTo>
                    <a:pt x="176" y="698"/>
                  </a:lnTo>
                  <a:lnTo>
                    <a:pt x="175" y="693"/>
                  </a:lnTo>
                  <a:lnTo>
                    <a:pt x="175" y="688"/>
                  </a:lnTo>
                  <a:lnTo>
                    <a:pt x="173" y="683"/>
                  </a:lnTo>
                  <a:lnTo>
                    <a:pt x="171" y="678"/>
                  </a:lnTo>
                  <a:lnTo>
                    <a:pt x="170" y="673"/>
                  </a:lnTo>
                  <a:lnTo>
                    <a:pt x="170" y="670"/>
                  </a:lnTo>
                  <a:lnTo>
                    <a:pt x="168" y="665"/>
                  </a:lnTo>
                  <a:lnTo>
                    <a:pt x="166" y="660"/>
                  </a:lnTo>
                  <a:lnTo>
                    <a:pt x="166" y="655"/>
                  </a:lnTo>
                  <a:lnTo>
                    <a:pt x="165" y="650"/>
                  </a:lnTo>
                  <a:lnTo>
                    <a:pt x="165" y="645"/>
                  </a:lnTo>
                  <a:lnTo>
                    <a:pt x="165" y="641"/>
                  </a:lnTo>
                  <a:lnTo>
                    <a:pt x="163" y="636"/>
                  </a:lnTo>
                  <a:lnTo>
                    <a:pt x="161" y="631"/>
                  </a:lnTo>
                  <a:lnTo>
                    <a:pt x="161" y="626"/>
                  </a:lnTo>
                  <a:lnTo>
                    <a:pt x="161" y="621"/>
                  </a:lnTo>
                  <a:lnTo>
                    <a:pt x="160" y="613"/>
                  </a:lnTo>
                  <a:lnTo>
                    <a:pt x="160" y="605"/>
                  </a:lnTo>
                  <a:lnTo>
                    <a:pt x="158" y="596"/>
                  </a:lnTo>
                  <a:lnTo>
                    <a:pt x="158" y="588"/>
                  </a:lnTo>
                  <a:lnTo>
                    <a:pt x="158" y="581"/>
                  </a:lnTo>
                  <a:lnTo>
                    <a:pt x="158" y="574"/>
                  </a:lnTo>
                  <a:lnTo>
                    <a:pt x="158" y="569"/>
                  </a:lnTo>
                  <a:lnTo>
                    <a:pt x="158" y="566"/>
                  </a:lnTo>
                  <a:lnTo>
                    <a:pt x="158" y="561"/>
                  </a:lnTo>
                  <a:lnTo>
                    <a:pt x="158" y="556"/>
                  </a:lnTo>
                  <a:lnTo>
                    <a:pt x="158" y="551"/>
                  </a:lnTo>
                  <a:lnTo>
                    <a:pt x="158" y="544"/>
                  </a:lnTo>
                  <a:lnTo>
                    <a:pt x="160" y="538"/>
                  </a:lnTo>
                  <a:lnTo>
                    <a:pt x="161" y="531"/>
                  </a:lnTo>
                  <a:lnTo>
                    <a:pt x="161" y="521"/>
                  </a:lnTo>
                  <a:lnTo>
                    <a:pt x="163" y="514"/>
                  </a:lnTo>
                  <a:lnTo>
                    <a:pt x="163" y="509"/>
                  </a:lnTo>
                  <a:lnTo>
                    <a:pt x="165" y="504"/>
                  </a:lnTo>
                  <a:lnTo>
                    <a:pt x="165" y="499"/>
                  </a:lnTo>
                  <a:lnTo>
                    <a:pt x="166" y="496"/>
                  </a:lnTo>
                  <a:lnTo>
                    <a:pt x="166" y="489"/>
                  </a:lnTo>
                  <a:lnTo>
                    <a:pt x="168" y="484"/>
                  </a:lnTo>
                  <a:lnTo>
                    <a:pt x="170" y="481"/>
                  </a:lnTo>
                  <a:lnTo>
                    <a:pt x="171" y="476"/>
                  </a:lnTo>
                  <a:lnTo>
                    <a:pt x="171" y="469"/>
                  </a:lnTo>
                  <a:lnTo>
                    <a:pt x="173" y="466"/>
                  </a:lnTo>
                  <a:lnTo>
                    <a:pt x="175" y="461"/>
                  </a:lnTo>
                  <a:lnTo>
                    <a:pt x="176" y="456"/>
                  </a:lnTo>
                  <a:lnTo>
                    <a:pt x="178" y="449"/>
                  </a:lnTo>
                  <a:lnTo>
                    <a:pt x="180" y="444"/>
                  </a:lnTo>
                  <a:lnTo>
                    <a:pt x="181" y="438"/>
                  </a:lnTo>
                  <a:lnTo>
                    <a:pt x="183" y="434"/>
                  </a:lnTo>
                  <a:lnTo>
                    <a:pt x="185" y="428"/>
                  </a:lnTo>
                  <a:lnTo>
                    <a:pt x="186" y="423"/>
                  </a:lnTo>
                  <a:lnTo>
                    <a:pt x="190" y="416"/>
                  </a:lnTo>
                  <a:lnTo>
                    <a:pt x="191" y="411"/>
                  </a:lnTo>
                  <a:lnTo>
                    <a:pt x="193" y="404"/>
                  </a:lnTo>
                  <a:lnTo>
                    <a:pt x="196" y="399"/>
                  </a:lnTo>
                  <a:lnTo>
                    <a:pt x="198" y="394"/>
                  </a:lnTo>
                  <a:lnTo>
                    <a:pt x="201" y="389"/>
                  </a:lnTo>
                  <a:lnTo>
                    <a:pt x="203" y="382"/>
                  </a:lnTo>
                  <a:lnTo>
                    <a:pt x="206" y="377"/>
                  </a:lnTo>
                  <a:lnTo>
                    <a:pt x="210" y="372"/>
                  </a:lnTo>
                  <a:lnTo>
                    <a:pt x="213" y="367"/>
                  </a:lnTo>
                  <a:lnTo>
                    <a:pt x="217" y="361"/>
                  </a:lnTo>
                  <a:lnTo>
                    <a:pt x="220" y="356"/>
                  </a:lnTo>
                  <a:lnTo>
                    <a:pt x="223" y="349"/>
                  </a:lnTo>
                  <a:lnTo>
                    <a:pt x="227" y="346"/>
                  </a:lnTo>
                  <a:lnTo>
                    <a:pt x="230" y="339"/>
                  </a:lnTo>
                  <a:lnTo>
                    <a:pt x="233" y="334"/>
                  </a:lnTo>
                  <a:lnTo>
                    <a:pt x="238" y="329"/>
                  </a:lnTo>
                  <a:lnTo>
                    <a:pt x="242" y="324"/>
                  </a:lnTo>
                  <a:lnTo>
                    <a:pt x="247" y="317"/>
                  </a:lnTo>
                  <a:lnTo>
                    <a:pt x="250" y="314"/>
                  </a:lnTo>
                  <a:lnTo>
                    <a:pt x="255" y="309"/>
                  </a:lnTo>
                  <a:lnTo>
                    <a:pt x="260" y="304"/>
                  </a:lnTo>
                  <a:lnTo>
                    <a:pt x="265" y="299"/>
                  </a:lnTo>
                  <a:lnTo>
                    <a:pt x="270" y="294"/>
                  </a:lnTo>
                  <a:lnTo>
                    <a:pt x="275" y="289"/>
                  </a:lnTo>
                  <a:lnTo>
                    <a:pt x="280" y="286"/>
                  </a:lnTo>
                  <a:lnTo>
                    <a:pt x="282" y="284"/>
                  </a:lnTo>
                  <a:lnTo>
                    <a:pt x="285" y="281"/>
                  </a:lnTo>
                  <a:lnTo>
                    <a:pt x="287" y="277"/>
                  </a:lnTo>
                  <a:lnTo>
                    <a:pt x="290" y="274"/>
                  </a:lnTo>
                  <a:lnTo>
                    <a:pt x="293" y="269"/>
                  </a:lnTo>
                  <a:lnTo>
                    <a:pt x="298" y="266"/>
                  </a:lnTo>
                  <a:lnTo>
                    <a:pt x="303" y="261"/>
                  </a:lnTo>
                  <a:lnTo>
                    <a:pt x="308" y="257"/>
                  </a:lnTo>
                  <a:lnTo>
                    <a:pt x="315" y="251"/>
                  </a:lnTo>
                  <a:lnTo>
                    <a:pt x="322" y="246"/>
                  </a:lnTo>
                  <a:lnTo>
                    <a:pt x="328" y="241"/>
                  </a:lnTo>
                  <a:lnTo>
                    <a:pt x="337" y="236"/>
                  </a:lnTo>
                  <a:lnTo>
                    <a:pt x="340" y="232"/>
                  </a:lnTo>
                  <a:lnTo>
                    <a:pt x="345" y="229"/>
                  </a:lnTo>
                  <a:lnTo>
                    <a:pt x="350" y="227"/>
                  </a:lnTo>
                  <a:lnTo>
                    <a:pt x="355" y="226"/>
                  </a:lnTo>
                  <a:lnTo>
                    <a:pt x="358" y="222"/>
                  </a:lnTo>
                  <a:lnTo>
                    <a:pt x="363" y="219"/>
                  </a:lnTo>
                  <a:lnTo>
                    <a:pt x="368" y="216"/>
                  </a:lnTo>
                  <a:lnTo>
                    <a:pt x="373" y="212"/>
                  </a:lnTo>
                  <a:lnTo>
                    <a:pt x="378" y="210"/>
                  </a:lnTo>
                  <a:lnTo>
                    <a:pt x="383" y="207"/>
                  </a:lnTo>
                  <a:lnTo>
                    <a:pt x="390" y="204"/>
                  </a:lnTo>
                  <a:lnTo>
                    <a:pt x="395" y="202"/>
                  </a:lnTo>
                  <a:lnTo>
                    <a:pt x="402" y="199"/>
                  </a:lnTo>
                  <a:lnTo>
                    <a:pt x="407" y="195"/>
                  </a:lnTo>
                  <a:lnTo>
                    <a:pt x="413" y="192"/>
                  </a:lnTo>
                  <a:lnTo>
                    <a:pt x="420" y="190"/>
                  </a:lnTo>
                  <a:lnTo>
                    <a:pt x="425" y="189"/>
                  </a:lnTo>
                  <a:lnTo>
                    <a:pt x="434" y="185"/>
                  </a:lnTo>
                  <a:lnTo>
                    <a:pt x="440" y="184"/>
                  </a:lnTo>
                  <a:lnTo>
                    <a:pt x="447" y="182"/>
                  </a:lnTo>
                  <a:lnTo>
                    <a:pt x="454" y="179"/>
                  </a:lnTo>
                  <a:lnTo>
                    <a:pt x="460" y="177"/>
                  </a:lnTo>
                  <a:lnTo>
                    <a:pt x="469" y="175"/>
                  </a:lnTo>
                  <a:lnTo>
                    <a:pt x="475" y="174"/>
                  </a:lnTo>
                  <a:lnTo>
                    <a:pt x="484" y="170"/>
                  </a:lnTo>
                  <a:lnTo>
                    <a:pt x="492" y="169"/>
                  </a:lnTo>
                  <a:lnTo>
                    <a:pt x="499" y="167"/>
                  </a:lnTo>
                  <a:lnTo>
                    <a:pt x="509" y="167"/>
                  </a:lnTo>
                  <a:lnTo>
                    <a:pt x="515" y="164"/>
                  </a:lnTo>
                  <a:lnTo>
                    <a:pt x="525" y="164"/>
                  </a:lnTo>
                  <a:lnTo>
                    <a:pt x="532" y="162"/>
                  </a:lnTo>
                  <a:lnTo>
                    <a:pt x="542" y="162"/>
                  </a:lnTo>
                  <a:lnTo>
                    <a:pt x="550" y="160"/>
                  </a:lnTo>
                  <a:lnTo>
                    <a:pt x="559" y="160"/>
                  </a:lnTo>
                  <a:lnTo>
                    <a:pt x="569" y="160"/>
                  </a:lnTo>
                  <a:lnTo>
                    <a:pt x="579" y="16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grpSp>
      <p:grpSp>
        <p:nvGrpSpPr>
          <p:cNvPr id="6" name="Group 10"/>
          <p:cNvGrpSpPr/>
          <p:nvPr/>
        </p:nvGrpSpPr>
        <p:grpSpPr bwMode="auto">
          <a:xfrm>
            <a:off x="141827" y="3590186"/>
            <a:ext cx="2176463" cy="2198688"/>
            <a:chOff x="567" y="754"/>
            <a:chExt cx="1371" cy="1385"/>
          </a:xfrm>
          <a:solidFill>
            <a:schemeClr val="accent3"/>
          </a:solidFill>
        </p:grpSpPr>
        <p:sp>
          <p:nvSpPr>
            <p:cNvPr id="8" name="Freeform 11"/>
            <p:cNvSpPr/>
            <p:nvPr/>
          </p:nvSpPr>
          <p:spPr bwMode="auto">
            <a:xfrm>
              <a:off x="1202" y="754"/>
              <a:ext cx="736" cy="1383"/>
            </a:xfrm>
            <a:custGeom>
              <a:avLst/>
              <a:gdLst>
                <a:gd name="T0" fmla="*/ 263 w 736"/>
                <a:gd name="T1" fmla="*/ 1259 h 1383"/>
                <a:gd name="T2" fmla="*/ 604 w 736"/>
                <a:gd name="T3" fmla="*/ 1102 h 1383"/>
                <a:gd name="T4" fmla="*/ 736 w 736"/>
                <a:gd name="T5" fmla="*/ 763 h 1383"/>
                <a:gd name="T6" fmla="*/ 736 w 736"/>
                <a:gd name="T7" fmla="*/ 740 h 1383"/>
                <a:gd name="T8" fmla="*/ 736 w 736"/>
                <a:gd name="T9" fmla="*/ 720 h 1383"/>
                <a:gd name="T10" fmla="*/ 736 w 736"/>
                <a:gd name="T11" fmla="*/ 688 h 1383"/>
                <a:gd name="T12" fmla="*/ 736 w 736"/>
                <a:gd name="T13" fmla="*/ 668 h 1383"/>
                <a:gd name="T14" fmla="*/ 736 w 736"/>
                <a:gd name="T15" fmla="*/ 630 h 1383"/>
                <a:gd name="T16" fmla="*/ 519 w 736"/>
                <a:gd name="T17" fmla="*/ 301 h 1383"/>
                <a:gd name="T18" fmla="*/ 136 w 736"/>
                <a:gd name="T19" fmla="*/ 87 h 1383"/>
                <a:gd name="T20" fmla="*/ 48 w 736"/>
                <a:gd name="T21" fmla="*/ 192 h 1383"/>
                <a:gd name="T22" fmla="*/ 73 w 736"/>
                <a:gd name="T23" fmla="*/ 192 h 1383"/>
                <a:gd name="T24" fmla="*/ 100 w 736"/>
                <a:gd name="T25" fmla="*/ 195 h 1383"/>
                <a:gd name="T26" fmla="*/ 126 w 736"/>
                <a:gd name="T27" fmla="*/ 199 h 1383"/>
                <a:gd name="T28" fmla="*/ 158 w 736"/>
                <a:gd name="T29" fmla="*/ 207 h 1383"/>
                <a:gd name="T30" fmla="*/ 192 w 736"/>
                <a:gd name="T31" fmla="*/ 215 h 1383"/>
                <a:gd name="T32" fmla="*/ 228 w 736"/>
                <a:gd name="T33" fmla="*/ 227 h 1383"/>
                <a:gd name="T34" fmla="*/ 263 w 736"/>
                <a:gd name="T35" fmla="*/ 242 h 1383"/>
                <a:gd name="T36" fmla="*/ 302 w 736"/>
                <a:gd name="T37" fmla="*/ 262 h 1383"/>
                <a:gd name="T38" fmla="*/ 337 w 736"/>
                <a:gd name="T39" fmla="*/ 286 h 1383"/>
                <a:gd name="T40" fmla="*/ 370 w 736"/>
                <a:gd name="T41" fmla="*/ 314 h 1383"/>
                <a:gd name="T42" fmla="*/ 402 w 736"/>
                <a:gd name="T43" fmla="*/ 346 h 1383"/>
                <a:gd name="T44" fmla="*/ 429 w 736"/>
                <a:gd name="T45" fmla="*/ 371 h 1383"/>
                <a:gd name="T46" fmla="*/ 450 w 736"/>
                <a:gd name="T47" fmla="*/ 397 h 1383"/>
                <a:gd name="T48" fmla="*/ 470 w 736"/>
                <a:gd name="T49" fmla="*/ 426 h 1383"/>
                <a:gd name="T50" fmla="*/ 485 w 736"/>
                <a:gd name="T51" fmla="*/ 454 h 1383"/>
                <a:gd name="T52" fmla="*/ 500 w 736"/>
                <a:gd name="T53" fmla="*/ 484 h 1383"/>
                <a:gd name="T54" fmla="*/ 514 w 736"/>
                <a:gd name="T55" fmla="*/ 516 h 1383"/>
                <a:gd name="T56" fmla="*/ 522 w 736"/>
                <a:gd name="T57" fmla="*/ 544 h 1383"/>
                <a:gd name="T58" fmla="*/ 530 w 736"/>
                <a:gd name="T59" fmla="*/ 574 h 1383"/>
                <a:gd name="T60" fmla="*/ 537 w 736"/>
                <a:gd name="T61" fmla="*/ 603 h 1383"/>
                <a:gd name="T62" fmla="*/ 540 w 736"/>
                <a:gd name="T63" fmla="*/ 630 h 1383"/>
                <a:gd name="T64" fmla="*/ 544 w 736"/>
                <a:gd name="T65" fmla="*/ 656 h 1383"/>
                <a:gd name="T66" fmla="*/ 545 w 736"/>
                <a:gd name="T67" fmla="*/ 681 h 1383"/>
                <a:gd name="T68" fmla="*/ 547 w 736"/>
                <a:gd name="T69" fmla="*/ 703 h 1383"/>
                <a:gd name="T70" fmla="*/ 544 w 736"/>
                <a:gd name="T71" fmla="*/ 733 h 1383"/>
                <a:gd name="T72" fmla="*/ 540 w 736"/>
                <a:gd name="T73" fmla="*/ 756 h 1383"/>
                <a:gd name="T74" fmla="*/ 535 w 736"/>
                <a:gd name="T75" fmla="*/ 781 h 1383"/>
                <a:gd name="T76" fmla="*/ 529 w 736"/>
                <a:gd name="T77" fmla="*/ 812 h 1383"/>
                <a:gd name="T78" fmla="*/ 520 w 736"/>
                <a:gd name="T79" fmla="*/ 842 h 1383"/>
                <a:gd name="T80" fmla="*/ 509 w 736"/>
                <a:gd name="T81" fmla="*/ 875 h 1383"/>
                <a:gd name="T82" fmla="*/ 494 w 736"/>
                <a:gd name="T83" fmla="*/ 907 h 1383"/>
                <a:gd name="T84" fmla="*/ 479 w 736"/>
                <a:gd name="T85" fmla="*/ 942 h 1383"/>
                <a:gd name="T86" fmla="*/ 457 w 736"/>
                <a:gd name="T87" fmla="*/ 973 h 1383"/>
                <a:gd name="T88" fmla="*/ 434 w 736"/>
                <a:gd name="T89" fmla="*/ 1005 h 1383"/>
                <a:gd name="T90" fmla="*/ 405 w 736"/>
                <a:gd name="T91" fmla="*/ 1035 h 1383"/>
                <a:gd name="T92" fmla="*/ 387 w 736"/>
                <a:gd name="T93" fmla="*/ 1054 h 1383"/>
                <a:gd name="T94" fmla="*/ 355 w 736"/>
                <a:gd name="T95" fmla="*/ 1079 h 1383"/>
                <a:gd name="T96" fmla="*/ 330 w 736"/>
                <a:gd name="T97" fmla="*/ 1099 h 1383"/>
                <a:gd name="T98" fmla="*/ 303 w 736"/>
                <a:gd name="T99" fmla="*/ 1115 h 1383"/>
                <a:gd name="T100" fmla="*/ 273 w 736"/>
                <a:gd name="T101" fmla="*/ 1132 h 1383"/>
                <a:gd name="T102" fmla="*/ 238 w 736"/>
                <a:gd name="T103" fmla="*/ 1149 h 1383"/>
                <a:gd name="T104" fmla="*/ 200 w 736"/>
                <a:gd name="T105" fmla="*/ 1164 h 1383"/>
                <a:gd name="T106" fmla="*/ 155 w 736"/>
                <a:gd name="T107" fmla="*/ 1174 h 1383"/>
                <a:gd name="T108" fmla="*/ 106 w 736"/>
                <a:gd name="T109" fmla="*/ 1184 h 1383"/>
                <a:gd name="T110" fmla="*/ 55 w 736"/>
                <a:gd name="T111" fmla="*/ 1189 h 138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36"/>
                <a:gd name="T169" fmla="*/ 0 h 1383"/>
                <a:gd name="T170" fmla="*/ 736 w 736"/>
                <a:gd name="T171" fmla="*/ 1383 h 138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36" h="1383">
                  <a:moveTo>
                    <a:pt x="45" y="1189"/>
                  </a:moveTo>
                  <a:lnTo>
                    <a:pt x="48" y="1383"/>
                  </a:lnTo>
                  <a:lnTo>
                    <a:pt x="110" y="1381"/>
                  </a:lnTo>
                  <a:lnTo>
                    <a:pt x="135" y="1296"/>
                  </a:lnTo>
                  <a:lnTo>
                    <a:pt x="263" y="1259"/>
                  </a:lnTo>
                  <a:lnTo>
                    <a:pt x="348" y="1317"/>
                  </a:lnTo>
                  <a:lnTo>
                    <a:pt x="442" y="1261"/>
                  </a:lnTo>
                  <a:lnTo>
                    <a:pt x="439" y="1162"/>
                  </a:lnTo>
                  <a:lnTo>
                    <a:pt x="509" y="1089"/>
                  </a:lnTo>
                  <a:lnTo>
                    <a:pt x="604" y="1102"/>
                  </a:lnTo>
                  <a:lnTo>
                    <a:pt x="671" y="997"/>
                  </a:lnTo>
                  <a:lnTo>
                    <a:pt x="614" y="915"/>
                  </a:lnTo>
                  <a:lnTo>
                    <a:pt x="652" y="781"/>
                  </a:lnTo>
                  <a:lnTo>
                    <a:pt x="736" y="768"/>
                  </a:lnTo>
                  <a:lnTo>
                    <a:pt x="736" y="763"/>
                  </a:lnTo>
                  <a:lnTo>
                    <a:pt x="736" y="758"/>
                  </a:lnTo>
                  <a:lnTo>
                    <a:pt x="736" y="755"/>
                  </a:lnTo>
                  <a:lnTo>
                    <a:pt x="736" y="750"/>
                  </a:lnTo>
                  <a:lnTo>
                    <a:pt x="736" y="745"/>
                  </a:lnTo>
                  <a:lnTo>
                    <a:pt x="736" y="740"/>
                  </a:lnTo>
                  <a:lnTo>
                    <a:pt x="736" y="736"/>
                  </a:lnTo>
                  <a:lnTo>
                    <a:pt x="736" y="733"/>
                  </a:lnTo>
                  <a:lnTo>
                    <a:pt x="736" y="728"/>
                  </a:lnTo>
                  <a:lnTo>
                    <a:pt x="736" y="723"/>
                  </a:lnTo>
                  <a:lnTo>
                    <a:pt x="736" y="720"/>
                  </a:lnTo>
                  <a:lnTo>
                    <a:pt x="736" y="715"/>
                  </a:lnTo>
                  <a:lnTo>
                    <a:pt x="736" y="706"/>
                  </a:lnTo>
                  <a:lnTo>
                    <a:pt x="736" y="698"/>
                  </a:lnTo>
                  <a:lnTo>
                    <a:pt x="736" y="693"/>
                  </a:lnTo>
                  <a:lnTo>
                    <a:pt x="736" y="688"/>
                  </a:lnTo>
                  <a:lnTo>
                    <a:pt x="736" y="685"/>
                  </a:lnTo>
                  <a:lnTo>
                    <a:pt x="736" y="681"/>
                  </a:lnTo>
                  <a:lnTo>
                    <a:pt x="736" y="676"/>
                  </a:lnTo>
                  <a:lnTo>
                    <a:pt x="736" y="671"/>
                  </a:lnTo>
                  <a:lnTo>
                    <a:pt x="736" y="668"/>
                  </a:lnTo>
                  <a:lnTo>
                    <a:pt x="736" y="663"/>
                  </a:lnTo>
                  <a:lnTo>
                    <a:pt x="736" y="655"/>
                  </a:lnTo>
                  <a:lnTo>
                    <a:pt x="736" y="646"/>
                  </a:lnTo>
                  <a:lnTo>
                    <a:pt x="736" y="638"/>
                  </a:lnTo>
                  <a:lnTo>
                    <a:pt x="736" y="630"/>
                  </a:lnTo>
                  <a:lnTo>
                    <a:pt x="651" y="604"/>
                  </a:lnTo>
                  <a:lnTo>
                    <a:pt x="614" y="476"/>
                  </a:lnTo>
                  <a:lnTo>
                    <a:pt x="672" y="391"/>
                  </a:lnTo>
                  <a:lnTo>
                    <a:pt x="617" y="296"/>
                  </a:lnTo>
                  <a:lnTo>
                    <a:pt x="519" y="301"/>
                  </a:lnTo>
                  <a:lnTo>
                    <a:pt x="445" y="230"/>
                  </a:lnTo>
                  <a:lnTo>
                    <a:pt x="457" y="134"/>
                  </a:lnTo>
                  <a:lnTo>
                    <a:pt x="352" y="67"/>
                  </a:lnTo>
                  <a:lnTo>
                    <a:pt x="272" y="125"/>
                  </a:lnTo>
                  <a:lnTo>
                    <a:pt x="136" y="87"/>
                  </a:lnTo>
                  <a:lnTo>
                    <a:pt x="123" y="3"/>
                  </a:lnTo>
                  <a:lnTo>
                    <a:pt x="43" y="0"/>
                  </a:lnTo>
                  <a:lnTo>
                    <a:pt x="0" y="89"/>
                  </a:lnTo>
                  <a:lnTo>
                    <a:pt x="46" y="192"/>
                  </a:lnTo>
                  <a:lnTo>
                    <a:pt x="48" y="192"/>
                  </a:lnTo>
                  <a:lnTo>
                    <a:pt x="51" y="192"/>
                  </a:lnTo>
                  <a:lnTo>
                    <a:pt x="55" y="192"/>
                  </a:lnTo>
                  <a:lnTo>
                    <a:pt x="60" y="192"/>
                  </a:lnTo>
                  <a:lnTo>
                    <a:pt x="66" y="192"/>
                  </a:lnTo>
                  <a:lnTo>
                    <a:pt x="73" y="192"/>
                  </a:lnTo>
                  <a:lnTo>
                    <a:pt x="81" y="194"/>
                  </a:lnTo>
                  <a:lnTo>
                    <a:pt x="86" y="194"/>
                  </a:lnTo>
                  <a:lnTo>
                    <a:pt x="90" y="194"/>
                  </a:lnTo>
                  <a:lnTo>
                    <a:pt x="95" y="194"/>
                  </a:lnTo>
                  <a:lnTo>
                    <a:pt x="100" y="195"/>
                  </a:lnTo>
                  <a:lnTo>
                    <a:pt x="105" y="195"/>
                  </a:lnTo>
                  <a:lnTo>
                    <a:pt x="110" y="197"/>
                  </a:lnTo>
                  <a:lnTo>
                    <a:pt x="116" y="197"/>
                  </a:lnTo>
                  <a:lnTo>
                    <a:pt x="121" y="199"/>
                  </a:lnTo>
                  <a:lnTo>
                    <a:pt x="126" y="199"/>
                  </a:lnTo>
                  <a:lnTo>
                    <a:pt x="133" y="200"/>
                  </a:lnTo>
                  <a:lnTo>
                    <a:pt x="138" y="202"/>
                  </a:lnTo>
                  <a:lnTo>
                    <a:pt x="147" y="204"/>
                  </a:lnTo>
                  <a:lnTo>
                    <a:pt x="152" y="205"/>
                  </a:lnTo>
                  <a:lnTo>
                    <a:pt x="158" y="207"/>
                  </a:lnTo>
                  <a:lnTo>
                    <a:pt x="165" y="209"/>
                  </a:lnTo>
                  <a:lnTo>
                    <a:pt x="172" y="210"/>
                  </a:lnTo>
                  <a:lnTo>
                    <a:pt x="178" y="210"/>
                  </a:lnTo>
                  <a:lnTo>
                    <a:pt x="185" y="212"/>
                  </a:lnTo>
                  <a:lnTo>
                    <a:pt x="192" y="215"/>
                  </a:lnTo>
                  <a:lnTo>
                    <a:pt x="200" y="217"/>
                  </a:lnTo>
                  <a:lnTo>
                    <a:pt x="207" y="219"/>
                  </a:lnTo>
                  <a:lnTo>
                    <a:pt x="213" y="222"/>
                  </a:lnTo>
                  <a:lnTo>
                    <a:pt x="220" y="224"/>
                  </a:lnTo>
                  <a:lnTo>
                    <a:pt x="228" y="227"/>
                  </a:lnTo>
                  <a:lnTo>
                    <a:pt x="235" y="229"/>
                  </a:lnTo>
                  <a:lnTo>
                    <a:pt x="242" y="232"/>
                  </a:lnTo>
                  <a:lnTo>
                    <a:pt x="250" y="235"/>
                  </a:lnTo>
                  <a:lnTo>
                    <a:pt x="257" y="239"/>
                  </a:lnTo>
                  <a:lnTo>
                    <a:pt x="263" y="242"/>
                  </a:lnTo>
                  <a:lnTo>
                    <a:pt x="272" y="246"/>
                  </a:lnTo>
                  <a:lnTo>
                    <a:pt x="278" y="249"/>
                  </a:lnTo>
                  <a:lnTo>
                    <a:pt x="287" y="254"/>
                  </a:lnTo>
                  <a:lnTo>
                    <a:pt x="293" y="257"/>
                  </a:lnTo>
                  <a:lnTo>
                    <a:pt x="302" y="262"/>
                  </a:lnTo>
                  <a:lnTo>
                    <a:pt x="308" y="266"/>
                  </a:lnTo>
                  <a:lnTo>
                    <a:pt x="315" y="271"/>
                  </a:lnTo>
                  <a:lnTo>
                    <a:pt x="322" y="276"/>
                  </a:lnTo>
                  <a:lnTo>
                    <a:pt x="330" y="279"/>
                  </a:lnTo>
                  <a:lnTo>
                    <a:pt x="337" y="286"/>
                  </a:lnTo>
                  <a:lnTo>
                    <a:pt x="343" y="291"/>
                  </a:lnTo>
                  <a:lnTo>
                    <a:pt x="350" y="296"/>
                  </a:lnTo>
                  <a:lnTo>
                    <a:pt x="357" y="301"/>
                  </a:lnTo>
                  <a:lnTo>
                    <a:pt x="364" y="307"/>
                  </a:lnTo>
                  <a:lnTo>
                    <a:pt x="370" y="314"/>
                  </a:lnTo>
                  <a:lnTo>
                    <a:pt x="377" y="319"/>
                  </a:lnTo>
                  <a:lnTo>
                    <a:pt x="384" y="326"/>
                  </a:lnTo>
                  <a:lnTo>
                    <a:pt x="390" y="332"/>
                  </a:lnTo>
                  <a:lnTo>
                    <a:pt x="397" y="341"/>
                  </a:lnTo>
                  <a:lnTo>
                    <a:pt x="402" y="346"/>
                  </a:lnTo>
                  <a:lnTo>
                    <a:pt x="407" y="349"/>
                  </a:lnTo>
                  <a:lnTo>
                    <a:pt x="414" y="354"/>
                  </a:lnTo>
                  <a:lnTo>
                    <a:pt x="419" y="361"/>
                  </a:lnTo>
                  <a:lnTo>
                    <a:pt x="424" y="364"/>
                  </a:lnTo>
                  <a:lnTo>
                    <a:pt x="429" y="371"/>
                  </a:lnTo>
                  <a:lnTo>
                    <a:pt x="434" y="376"/>
                  </a:lnTo>
                  <a:lnTo>
                    <a:pt x="439" y="381"/>
                  </a:lnTo>
                  <a:lnTo>
                    <a:pt x="442" y="386"/>
                  </a:lnTo>
                  <a:lnTo>
                    <a:pt x="445" y="392"/>
                  </a:lnTo>
                  <a:lnTo>
                    <a:pt x="450" y="397"/>
                  </a:lnTo>
                  <a:lnTo>
                    <a:pt x="455" y="402"/>
                  </a:lnTo>
                  <a:lnTo>
                    <a:pt x="459" y="409"/>
                  </a:lnTo>
                  <a:lnTo>
                    <a:pt x="462" y="414"/>
                  </a:lnTo>
                  <a:lnTo>
                    <a:pt x="467" y="419"/>
                  </a:lnTo>
                  <a:lnTo>
                    <a:pt x="470" y="426"/>
                  </a:lnTo>
                  <a:lnTo>
                    <a:pt x="474" y="431"/>
                  </a:lnTo>
                  <a:lnTo>
                    <a:pt x="477" y="438"/>
                  </a:lnTo>
                  <a:lnTo>
                    <a:pt x="480" y="443"/>
                  </a:lnTo>
                  <a:lnTo>
                    <a:pt x="484" y="449"/>
                  </a:lnTo>
                  <a:lnTo>
                    <a:pt x="485" y="454"/>
                  </a:lnTo>
                  <a:lnTo>
                    <a:pt x="489" y="461"/>
                  </a:lnTo>
                  <a:lnTo>
                    <a:pt x="492" y="466"/>
                  </a:lnTo>
                  <a:lnTo>
                    <a:pt x="495" y="473"/>
                  </a:lnTo>
                  <a:lnTo>
                    <a:pt x="499" y="479"/>
                  </a:lnTo>
                  <a:lnTo>
                    <a:pt x="500" y="484"/>
                  </a:lnTo>
                  <a:lnTo>
                    <a:pt x="504" y="491"/>
                  </a:lnTo>
                  <a:lnTo>
                    <a:pt x="505" y="498"/>
                  </a:lnTo>
                  <a:lnTo>
                    <a:pt x="509" y="503"/>
                  </a:lnTo>
                  <a:lnTo>
                    <a:pt x="510" y="509"/>
                  </a:lnTo>
                  <a:lnTo>
                    <a:pt x="514" y="516"/>
                  </a:lnTo>
                  <a:lnTo>
                    <a:pt x="515" y="521"/>
                  </a:lnTo>
                  <a:lnTo>
                    <a:pt x="517" y="528"/>
                  </a:lnTo>
                  <a:lnTo>
                    <a:pt x="519" y="533"/>
                  </a:lnTo>
                  <a:lnTo>
                    <a:pt x="520" y="538"/>
                  </a:lnTo>
                  <a:lnTo>
                    <a:pt x="522" y="544"/>
                  </a:lnTo>
                  <a:lnTo>
                    <a:pt x="524" y="551"/>
                  </a:lnTo>
                  <a:lnTo>
                    <a:pt x="525" y="556"/>
                  </a:lnTo>
                  <a:lnTo>
                    <a:pt x="527" y="563"/>
                  </a:lnTo>
                  <a:lnTo>
                    <a:pt x="529" y="569"/>
                  </a:lnTo>
                  <a:lnTo>
                    <a:pt x="530" y="574"/>
                  </a:lnTo>
                  <a:lnTo>
                    <a:pt x="532" y="579"/>
                  </a:lnTo>
                  <a:lnTo>
                    <a:pt x="532" y="586"/>
                  </a:lnTo>
                  <a:lnTo>
                    <a:pt x="534" y="591"/>
                  </a:lnTo>
                  <a:lnTo>
                    <a:pt x="535" y="598"/>
                  </a:lnTo>
                  <a:lnTo>
                    <a:pt x="537" y="603"/>
                  </a:lnTo>
                  <a:lnTo>
                    <a:pt x="537" y="608"/>
                  </a:lnTo>
                  <a:lnTo>
                    <a:pt x="539" y="615"/>
                  </a:lnTo>
                  <a:lnTo>
                    <a:pt x="539" y="620"/>
                  </a:lnTo>
                  <a:lnTo>
                    <a:pt x="539" y="625"/>
                  </a:lnTo>
                  <a:lnTo>
                    <a:pt x="540" y="630"/>
                  </a:lnTo>
                  <a:lnTo>
                    <a:pt x="540" y="636"/>
                  </a:lnTo>
                  <a:lnTo>
                    <a:pt x="542" y="640"/>
                  </a:lnTo>
                  <a:lnTo>
                    <a:pt x="542" y="646"/>
                  </a:lnTo>
                  <a:lnTo>
                    <a:pt x="544" y="651"/>
                  </a:lnTo>
                  <a:lnTo>
                    <a:pt x="544" y="656"/>
                  </a:lnTo>
                  <a:lnTo>
                    <a:pt x="544" y="661"/>
                  </a:lnTo>
                  <a:lnTo>
                    <a:pt x="545" y="666"/>
                  </a:lnTo>
                  <a:lnTo>
                    <a:pt x="545" y="671"/>
                  </a:lnTo>
                  <a:lnTo>
                    <a:pt x="545" y="676"/>
                  </a:lnTo>
                  <a:lnTo>
                    <a:pt x="545" y="681"/>
                  </a:lnTo>
                  <a:lnTo>
                    <a:pt x="547" y="686"/>
                  </a:lnTo>
                  <a:lnTo>
                    <a:pt x="547" y="691"/>
                  </a:lnTo>
                  <a:lnTo>
                    <a:pt x="549" y="696"/>
                  </a:lnTo>
                  <a:lnTo>
                    <a:pt x="547" y="698"/>
                  </a:lnTo>
                  <a:lnTo>
                    <a:pt x="547" y="703"/>
                  </a:lnTo>
                  <a:lnTo>
                    <a:pt x="547" y="708"/>
                  </a:lnTo>
                  <a:lnTo>
                    <a:pt x="547" y="715"/>
                  </a:lnTo>
                  <a:lnTo>
                    <a:pt x="545" y="721"/>
                  </a:lnTo>
                  <a:lnTo>
                    <a:pt x="544" y="730"/>
                  </a:lnTo>
                  <a:lnTo>
                    <a:pt x="544" y="733"/>
                  </a:lnTo>
                  <a:lnTo>
                    <a:pt x="544" y="738"/>
                  </a:lnTo>
                  <a:lnTo>
                    <a:pt x="542" y="741"/>
                  </a:lnTo>
                  <a:lnTo>
                    <a:pt x="542" y="746"/>
                  </a:lnTo>
                  <a:lnTo>
                    <a:pt x="540" y="751"/>
                  </a:lnTo>
                  <a:lnTo>
                    <a:pt x="540" y="756"/>
                  </a:lnTo>
                  <a:lnTo>
                    <a:pt x="539" y="760"/>
                  </a:lnTo>
                  <a:lnTo>
                    <a:pt x="539" y="766"/>
                  </a:lnTo>
                  <a:lnTo>
                    <a:pt x="537" y="771"/>
                  </a:lnTo>
                  <a:lnTo>
                    <a:pt x="537" y="776"/>
                  </a:lnTo>
                  <a:lnTo>
                    <a:pt x="535" y="781"/>
                  </a:lnTo>
                  <a:lnTo>
                    <a:pt x="535" y="788"/>
                  </a:lnTo>
                  <a:lnTo>
                    <a:pt x="534" y="793"/>
                  </a:lnTo>
                  <a:lnTo>
                    <a:pt x="532" y="800"/>
                  </a:lnTo>
                  <a:lnTo>
                    <a:pt x="530" y="805"/>
                  </a:lnTo>
                  <a:lnTo>
                    <a:pt x="529" y="812"/>
                  </a:lnTo>
                  <a:lnTo>
                    <a:pt x="527" y="817"/>
                  </a:lnTo>
                  <a:lnTo>
                    <a:pt x="525" y="823"/>
                  </a:lnTo>
                  <a:lnTo>
                    <a:pt x="524" y="830"/>
                  </a:lnTo>
                  <a:lnTo>
                    <a:pt x="522" y="837"/>
                  </a:lnTo>
                  <a:lnTo>
                    <a:pt x="520" y="842"/>
                  </a:lnTo>
                  <a:lnTo>
                    <a:pt x="519" y="848"/>
                  </a:lnTo>
                  <a:lnTo>
                    <a:pt x="515" y="855"/>
                  </a:lnTo>
                  <a:lnTo>
                    <a:pt x="514" y="862"/>
                  </a:lnTo>
                  <a:lnTo>
                    <a:pt x="510" y="868"/>
                  </a:lnTo>
                  <a:lnTo>
                    <a:pt x="509" y="875"/>
                  </a:lnTo>
                  <a:lnTo>
                    <a:pt x="505" y="880"/>
                  </a:lnTo>
                  <a:lnTo>
                    <a:pt x="504" y="888"/>
                  </a:lnTo>
                  <a:lnTo>
                    <a:pt x="500" y="895"/>
                  </a:lnTo>
                  <a:lnTo>
                    <a:pt x="497" y="900"/>
                  </a:lnTo>
                  <a:lnTo>
                    <a:pt x="494" y="907"/>
                  </a:lnTo>
                  <a:lnTo>
                    <a:pt x="492" y="913"/>
                  </a:lnTo>
                  <a:lnTo>
                    <a:pt x="489" y="920"/>
                  </a:lnTo>
                  <a:lnTo>
                    <a:pt x="485" y="927"/>
                  </a:lnTo>
                  <a:lnTo>
                    <a:pt x="482" y="933"/>
                  </a:lnTo>
                  <a:lnTo>
                    <a:pt x="479" y="942"/>
                  </a:lnTo>
                  <a:lnTo>
                    <a:pt x="474" y="947"/>
                  </a:lnTo>
                  <a:lnTo>
                    <a:pt x="470" y="953"/>
                  </a:lnTo>
                  <a:lnTo>
                    <a:pt x="465" y="960"/>
                  </a:lnTo>
                  <a:lnTo>
                    <a:pt x="462" y="967"/>
                  </a:lnTo>
                  <a:lnTo>
                    <a:pt x="457" y="973"/>
                  </a:lnTo>
                  <a:lnTo>
                    <a:pt x="452" y="980"/>
                  </a:lnTo>
                  <a:lnTo>
                    <a:pt x="447" y="985"/>
                  </a:lnTo>
                  <a:lnTo>
                    <a:pt x="444" y="994"/>
                  </a:lnTo>
                  <a:lnTo>
                    <a:pt x="439" y="999"/>
                  </a:lnTo>
                  <a:lnTo>
                    <a:pt x="434" y="1005"/>
                  </a:lnTo>
                  <a:lnTo>
                    <a:pt x="427" y="1012"/>
                  </a:lnTo>
                  <a:lnTo>
                    <a:pt x="422" y="1017"/>
                  </a:lnTo>
                  <a:lnTo>
                    <a:pt x="417" y="1024"/>
                  </a:lnTo>
                  <a:lnTo>
                    <a:pt x="410" y="1030"/>
                  </a:lnTo>
                  <a:lnTo>
                    <a:pt x="405" y="1035"/>
                  </a:lnTo>
                  <a:lnTo>
                    <a:pt x="400" y="1042"/>
                  </a:lnTo>
                  <a:lnTo>
                    <a:pt x="397" y="1042"/>
                  </a:lnTo>
                  <a:lnTo>
                    <a:pt x="394" y="1047"/>
                  </a:lnTo>
                  <a:lnTo>
                    <a:pt x="390" y="1049"/>
                  </a:lnTo>
                  <a:lnTo>
                    <a:pt x="387" y="1054"/>
                  </a:lnTo>
                  <a:lnTo>
                    <a:pt x="382" y="1059"/>
                  </a:lnTo>
                  <a:lnTo>
                    <a:pt x="377" y="1064"/>
                  </a:lnTo>
                  <a:lnTo>
                    <a:pt x="370" y="1067"/>
                  </a:lnTo>
                  <a:lnTo>
                    <a:pt x="364" y="1074"/>
                  </a:lnTo>
                  <a:lnTo>
                    <a:pt x="355" y="1079"/>
                  </a:lnTo>
                  <a:lnTo>
                    <a:pt x="348" y="1085"/>
                  </a:lnTo>
                  <a:lnTo>
                    <a:pt x="343" y="1089"/>
                  </a:lnTo>
                  <a:lnTo>
                    <a:pt x="338" y="1092"/>
                  </a:lnTo>
                  <a:lnTo>
                    <a:pt x="335" y="1095"/>
                  </a:lnTo>
                  <a:lnTo>
                    <a:pt x="330" y="1099"/>
                  </a:lnTo>
                  <a:lnTo>
                    <a:pt x="325" y="1102"/>
                  </a:lnTo>
                  <a:lnTo>
                    <a:pt x="320" y="1105"/>
                  </a:lnTo>
                  <a:lnTo>
                    <a:pt x="315" y="1109"/>
                  </a:lnTo>
                  <a:lnTo>
                    <a:pt x="310" y="1114"/>
                  </a:lnTo>
                  <a:lnTo>
                    <a:pt x="303" y="1115"/>
                  </a:lnTo>
                  <a:lnTo>
                    <a:pt x="298" y="1119"/>
                  </a:lnTo>
                  <a:lnTo>
                    <a:pt x="292" y="1122"/>
                  </a:lnTo>
                  <a:lnTo>
                    <a:pt x="287" y="1125"/>
                  </a:lnTo>
                  <a:lnTo>
                    <a:pt x="280" y="1129"/>
                  </a:lnTo>
                  <a:lnTo>
                    <a:pt x="273" y="1132"/>
                  </a:lnTo>
                  <a:lnTo>
                    <a:pt x="267" y="1135"/>
                  </a:lnTo>
                  <a:lnTo>
                    <a:pt x="260" y="1139"/>
                  </a:lnTo>
                  <a:lnTo>
                    <a:pt x="253" y="1142"/>
                  </a:lnTo>
                  <a:lnTo>
                    <a:pt x="245" y="1145"/>
                  </a:lnTo>
                  <a:lnTo>
                    <a:pt x="238" y="1149"/>
                  </a:lnTo>
                  <a:lnTo>
                    <a:pt x="232" y="1150"/>
                  </a:lnTo>
                  <a:lnTo>
                    <a:pt x="223" y="1154"/>
                  </a:lnTo>
                  <a:lnTo>
                    <a:pt x="215" y="1157"/>
                  </a:lnTo>
                  <a:lnTo>
                    <a:pt x="207" y="1160"/>
                  </a:lnTo>
                  <a:lnTo>
                    <a:pt x="200" y="1164"/>
                  </a:lnTo>
                  <a:lnTo>
                    <a:pt x="190" y="1165"/>
                  </a:lnTo>
                  <a:lnTo>
                    <a:pt x="182" y="1169"/>
                  </a:lnTo>
                  <a:lnTo>
                    <a:pt x="173" y="1171"/>
                  </a:lnTo>
                  <a:lnTo>
                    <a:pt x="165" y="1172"/>
                  </a:lnTo>
                  <a:lnTo>
                    <a:pt x="155" y="1174"/>
                  </a:lnTo>
                  <a:lnTo>
                    <a:pt x="145" y="1177"/>
                  </a:lnTo>
                  <a:lnTo>
                    <a:pt x="136" y="1179"/>
                  </a:lnTo>
                  <a:lnTo>
                    <a:pt x="126" y="1181"/>
                  </a:lnTo>
                  <a:lnTo>
                    <a:pt x="116" y="1182"/>
                  </a:lnTo>
                  <a:lnTo>
                    <a:pt x="106" y="1184"/>
                  </a:lnTo>
                  <a:lnTo>
                    <a:pt x="96" y="1186"/>
                  </a:lnTo>
                  <a:lnTo>
                    <a:pt x="86" y="1186"/>
                  </a:lnTo>
                  <a:lnTo>
                    <a:pt x="75" y="1187"/>
                  </a:lnTo>
                  <a:lnTo>
                    <a:pt x="65" y="1187"/>
                  </a:lnTo>
                  <a:lnTo>
                    <a:pt x="55" y="1189"/>
                  </a:lnTo>
                  <a:lnTo>
                    <a:pt x="45" y="118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9" name="Freeform 12"/>
            <p:cNvSpPr/>
            <p:nvPr/>
          </p:nvSpPr>
          <p:spPr bwMode="auto">
            <a:xfrm>
              <a:off x="567" y="754"/>
              <a:ext cx="730" cy="1385"/>
            </a:xfrm>
            <a:custGeom>
              <a:avLst/>
              <a:gdLst>
                <a:gd name="T0" fmla="*/ 476 w 730"/>
                <a:gd name="T1" fmla="*/ 124 h 1385"/>
                <a:gd name="T2" fmla="*/ 134 w 730"/>
                <a:gd name="T3" fmla="*/ 281 h 1385"/>
                <a:gd name="T4" fmla="*/ 2 w 730"/>
                <a:gd name="T5" fmla="*/ 622 h 1385"/>
                <a:gd name="T6" fmla="*/ 0 w 730"/>
                <a:gd name="T7" fmla="*/ 662 h 1385"/>
                <a:gd name="T8" fmla="*/ 0 w 730"/>
                <a:gd name="T9" fmla="*/ 685 h 1385"/>
                <a:gd name="T10" fmla="*/ 0 w 730"/>
                <a:gd name="T11" fmla="*/ 708 h 1385"/>
                <a:gd name="T12" fmla="*/ 0 w 730"/>
                <a:gd name="T13" fmla="*/ 732 h 1385"/>
                <a:gd name="T14" fmla="*/ 4 w 730"/>
                <a:gd name="T15" fmla="*/ 757 h 1385"/>
                <a:gd name="T16" fmla="*/ 221 w 730"/>
                <a:gd name="T17" fmla="*/ 1084 h 1385"/>
                <a:gd name="T18" fmla="*/ 601 w 730"/>
                <a:gd name="T19" fmla="*/ 1299 h 1385"/>
                <a:gd name="T20" fmla="*/ 690 w 730"/>
                <a:gd name="T21" fmla="*/ 1191 h 1385"/>
                <a:gd name="T22" fmla="*/ 668 w 730"/>
                <a:gd name="T23" fmla="*/ 1189 h 1385"/>
                <a:gd name="T24" fmla="*/ 640 w 730"/>
                <a:gd name="T25" fmla="*/ 1188 h 1385"/>
                <a:gd name="T26" fmla="*/ 615 w 730"/>
                <a:gd name="T27" fmla="*/ 1184 h 1385"/>
                <a:gd name="T28" fmla="*/ 585 w 730"/>
                <a:gd name="T29" fmla="*/ 1176 h 1385"/>
                <a:gd name="T30" fmla="*/ 551 w 730"/>
                <a:gd name="T31" fmla="*/ 1169 h 1385"/>
                <a:gd name="T32" fmla="*/ 514 w 730"/>
                <a:gd name="T33" fmla="*/ 1157 h 1385"/>
                <a:gd name="T34" fmla="*/ 479 w 730"/>
                <a:gd name="T35" fmla="*/ 1144 h 1385"/>
                <a:gd name="T36" fmla="*/ 443 w 730"/>
                <a:gd name="T37" fmla="*/ 1126 h 1385"/>
                <a:gd name="T38" fmla="*/ 408 w 730"/>
                <a:gd name="T39" fmla="*/ 1102 h 1385"/>
                <a:gd name="T40" fmla="*/ 373 w 730"/>
                <a:gd name="T41" fmla="*/ 1077 h 1385"/>
                <a:gd name="T42" fmla="*/ 342 w 730"/>
                <a:gd name="T43" fmla="*/ 1046 h 1385"/>
                <a:gd name="T44" fmla="*/ 322 w 730"/>
                <a:gd name="T45" fmla="*/ 1027 h 1385"/>
                <a:gd name="T46" fmla="*/ 296 w 730"/>
                <a:gd name="T47" fmla="*/ 996 h 1385"/>
                <a:gd name="T48" fmla="*/ 279 w 730"/>
                <a:gd name="T49" fmla="*/ 972 h 1385"/>
                <a:gd name="T50" fmla="*/ 262 w 730"/>
                <a:gd name="T51" fmla="*/ 945 h 1385"/>
                <a:gd name="T52" fmla="*/ 246 w 730"/>
                <a:gd name="T53" fmla="*/ 912 h 1385"/>
                <a:gd name="T54" fmla="*/ 231 w 730"/>
                <a:gd name="T55" fmla="*/ 877 h 1385"/>
                <a:gd name="T56" fmla="*/ 216 w 730"/>
                <a:gd name="T57" fmla="*/ 837 h 1385"/>
                <a:gd name="T58" fmla="*/ 204 w 730"/>
                <a:gd name="T59" fmla="*/ 792 h 1385"/>
                <a:gd name="T60" fmla="*/ 196 w 730"/>
                <a:gd name="T61" fmla="*/ 742 h 1385"/>
                <a:gd name="T62" fmla="*/ 192 w 730"/>
                <a:gd name="T63" fmla="*/ 690 h 1385"/>
                <a:gd name="T64" fmla="*/ 192 w 730"/>
                <a:gd name="T65" fmla="*/ 665 h 1385"/>
                <a:gd name="T66" fmla="*/ 197 w 730"/>
                <a:gd name="T67" fmla="*/ 632 h 1385"/>
                <a:gd name="T68" fmla="*/ 201 w 730"/>
                <a:gd name="T69" fmla="*/ 605 h 1385"/>
                <a:gd name="T70" fmla="*/ 207 w 730"/>
                <a:gd name="T71" fmla="*/ 576 h 1385"/>
                <a:gd name="T72" fmla="*/ 216 w 730"/>
                <a:gd name="T73" fmla="*/ 545 h 1385"/>
                <a:gd name="T74" fmla="*/ 226 w 730"/>
                <a:gd name="T75" fmla="*/ 511 h 1385"/>
                <a:gd name="T76" fmla="*/ 241 w 730"/>
                <a:gd name="T77" fmla="*/ 476 h 1385"/>
                <a:gd name="T78" fmla="*/ 259 w 730"/>
                <a:gd name="T79" fmla="*/ 443 h 1385"/>
                <a:gd name="T80" fmla="*/ 279 w 730"/>
                <a:gd name="T81" fmla="*/ 408 h 1385"/>
                <a:gd name="T82" fmla="*/ 302 w 730"/>
                <a:gd name="T83" fmla="*/ 376 h 1385"/>
                <a:gd name="T84" fmla="*/ 332 w 730"/>
                <a:gd name="T85" fmla="*/ 346 h 1385"/>
                <a:gd name="T86" fmla="*/ 352 w 730"/>
                <a:gd name="T87" fmla="*/ 328 h 1385"/>
                <a:gd name="T88" fmla="*/ 381 w 730"/>
                <a:gd name="T89" fmla="*/ 301 h 1385"/>
                <a:gd name="T90" fmla="*/ 408 w 730"/>
                <a:gd name="T91" fmla="*/ 281 h 1385"/>
                <a:gd name="T92" fmla="*/ 433 w 730"/>
                <a:gd name="T93" fmla="*/ 264 h 1385"/>
                <a:gd name="T94" fmla="*/ 464 w 730"/>
                <a:gd name="T95" fmla="*/ 248 h 1385"/>
                <a:gd name="T96" fmla="*/ 499 w 730"/>
                <a:gd name="T97" fmla="*/ 231 h 1385"/>
                <a:gd name="T98" fmla="*/ 539 w 730"/>
                <a:gd name="T99" fmla="*/ 219 h 1385"/>
                <a:gd name="T100" fmla="*/ 583 w 730"/>
                <a:gd name="T101" fmla="*/ 206 h 1385"/>
                <a:gd name="T102" fmla="*/ 631 w 730"/>
                <a:gd name="T103" fmla="*/ 197 h 1385"/>
                <a:gd name="T104" fmla="*/ 685 w 730"/>
                <a:gd name="T105" fmla="*/ 194 h 138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730"/>
                <a:gd name="T160" fmla="*/ 0 h 1385"/>
                <a:gd name="T161" fmla="*/ 730 w 730"/>
                <a:gd name="T162" fmla="*/ 1385 h 138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730" h="1385">
                  <a:moveTo>
                    <a:pt x="698" y="194"/>
                  </a:moveTo>
                  <a:lnTo>
                    <a:pt x="693" y="0"/>
                  </a:lnTo>
                  <a:lnTo>
                    <a:pt x="631" y="2"/>
                  </a:lnTo>
                  <a:lnTo>
                    <a:pt x="606" y="89"/>
                  </a:lnTo>
                  <a:lnTo>
                    <a:pt x="476" y="124"/>
                  </a:lnTo>
                  <a:lnTo>
                    <a:pt x="393" y="67"/>
                  </a:lnTo>
                  <a:lnTo>
                    <a:pt x="297" y="121"/>
                  </a:lnTo>
                  <a:lnTo>
                    <a:pt x="302" y="221"/>
                  </a:lnTo>
                  <a:lnTo>
                    <a:pt x="232" y="296"/>
                  </a:lnTo>
                  <a:lnTo>
                    <a:pt x="134" y="281"/>
                  </a:lnTo>
                  <a:lnTo>
                    <a:pt x="69" y="386"/>
                  </a:lnTo>
                  <a:lnTo>
                    <a:pt x="127" y="468"/>
                  </a:lnTo>
                  <a:lnTo>
                    <a:pt x="89" y="591"/>
                  </a:lnTo>
                  <a:lnTo>
                    <a:pt x="4" y="615"/>
                  </a:lnTo>
                  <a:lnTo>
                    <a:pt x="2" y="622"/>
                  </a:lnTo>
                  <a:lnTo>
                    <a:pt x="2" y="628"/>
                  </a:lnTo>
                  <a:lnTo>
                    <a:pt x="0" y="637"/>
                  </a:lnTo>
                  <a:lnTo>
                    <a:pt x="0" y="645"/>
                  </a:lnTo>
                  <a:lnTo>
                    <a:pt x="0" y="653"/>
                  </a:lnTo>
                  <a:lnTo>
                    <a:pt x="0" y="662"/>
                  </a:lnTo>
                  <a:lnTo>
                    <a:pt x="0" y="667"/>
                  </a:lnTo>
                  <a:lnTo>
                    <a:pt x="0" y="672"/>
                  </a:lnTo>
                  <a:lnTo>
                    <a:pt x="0" y="675"/>
                  </a:lnTo>
                  <a:lnTo>
                    <a:pt x="0" y="680"/>
                  </a:lnTo>
                  <a:lnTo>
                    <a:pt x="0" y="685"/>
                  </a:lnTo>
                  <a:lnTo>
                    <a:pt x="0" y="690"/>
                  </a:lnTo>
                  <a:lnTo>
                    <a:pt x="0" y="693"/>
                  </a:lnTo>
                  <a:lnTo>
                    <a:pt x="0" y="698"/>
                  </a:lnTo>
                  <a:lnTo>
                    <a:pt x="0" y="703"/>
                  </a:lnTo>
                  <a:lnTo>
                    <a:pt x="0" y="708"/>
                  </a:lnTo>
                  <a:lnTo>
                    <a:pt x="0" y="713"/>
                  </a:lnTo>
                  <a:lnTo>
                    <a:pt x="0" y="718"/>
                  </a:lnTo>
                  <a:lnTo>
                    <a:pt x="0" y="723"/>
                  </a:lnTo>
                  <a:lnTo>
                    <a:pt x="0" y="727"/>
                  </a:lnTo>
                  <a:lnTo>
                    <a:pt x="0" y="732"/>
                  </a:lnTo>
                  <a:lnTo>
                    <a:pt x="2" y="737"/>
                  </a:lnTo>
                  <a:lnTo>
                    <a:pt x="2" y="742"/>
                  </a:lnTo>
                  <a:lnTo>
                    <a:pt x="2" y="747"/>
                  </a:lnTo>
                  <a:lnTo>
                    <a:pt x="4" y="752"/>
                  </a:lnTo>
                  <a:lnTo>
                    <a:pt x="4" y="757"/>
                  </a:lnTo>
                  <a:lnTo>
                    <a:pt x="89" y="780"/>
                  </a:lnTo>
                  <a:lnTo>
                    <a:pt x="124" y="910"/>
                  </a:lnTo>
                  <a:lnTo>
                    <a:pt x="67" y="992"/>
                  </a:lnTo>
                  <a:lnTo>
                    <a:pt x="120" y="1089"/>
                  </a:lnTo>
                  <a:lnTo>
                    <a:pt x="221" y="1084"/>
                  </a:lnTo>
                  <a:lnTo>
                    <a:pt x="296" y="1152"/>
                  </a:lnTo>
                  <a:lnTo>
                    <a:pt x="281" y="1253"/>
                  </a:lnTo>
                  <a:lnTo>
                    <a:pt x="388" y="1318"/>
                  </a:lnTo>
                  <a:lnTo>
                    <a:pt x="466" y="1261"/>
                  </a:lnTo>
                  <a:lnTo>
                    <a:pt x="601" y="1299"/>
                  </a:lnTo>
                  <a:lnTo>
                    <a:pt x="616" y="1380"/>
                  </a:lnTo>
                  <a:lnTo>
                    <a:pt x="693" y="1385"/>
                  </a:lnTo>
                  <a:lnTo>
                    <a:pt x="730" y="1304"/>
                  </a:lnTo>
                  <a:lnTo>
                    <a:pt x="691" y="1191"/>
                  </a:lnTo>
                  <a:lnTo>
                    <a:pt x="690" y="1191"/>
                  </a:lnTo>
                  <a:lnTo>
                    <a:pt x="688" y="1191"/>
                  </a:lnTo>
                  <a:lnTo>
                    <a:pt x="685" y="1191"/>
                  </a:lnTo>
                  <a:lnTo>
                    <a:pt x="681" y="1191"/>
                  </a:lnTo>
                  <a:lnTo>
                    <a:pt x="675" y="1189"/>
                  </a:lnTo>
                  <a:lnTo>
                    <a:pt x="668" y="1189"/>
                  </a:lnTo>
                  <a:lnTo>
                    <a:pt x="661" y="1189"/>
                  </a:lnTo>
                  <a:lnTo>
                    <a:pt x="655" y="1189"/>
                  </a:lnTo>
                  <a:lnTo>
                    <a:pt x="650" y="1188"/>
                  </a:lnTo>
                  <a:lnTo>
                    <a:pt x="645" y="1188"/>
                  </a:lnTo>
                  <a:lnTo>
                    <a:pt x="640" y="1188"/>
                  </a:lnTo>
                  <a:lnTo>
                    <a:pt x="635" y="1186"/>
                  </a:lnTo>
                  <a:lnTo>
                    <a:pt x="630" y="1186"/>
                  </a:lnTo>
                  <a:lnTo>
                    <a:pt x="625" y="1184"/>
                  </a:lnTo>
                  <a:lnTo>
                    <a:pt x="620" y="1184"/>
                  </a:lnTo>
                  <a:lnTo>
                    <a:pt x="615" y="1184"/>
                  </a:lnTo>
                  <a:lnTo>
                    <a:pt x="608" y="1183"/>
                  </a:lnTo>
                  <a:lnTo>
                    <a:pt x="603" y="1181"/>
                  </a:lnTo>
                  <a:lnTo>
                    <a:pt x="596" y="1179"/>
                  </a:lnTo>
                  <a:lnTo>
                    <a:pt x="591" y="1178"/>
                  </a:lnTo>
                  <a:lnTo>
                    <a:pt x="585" y="1176"/>
                  </a:lnTo>
                  <a:lnTo>
                    <a:pt x="578" y="1176"/>
                  </a:lnTo>
                  <a:lnTo>
                    <a:pt x="571" y="1174"/>
                  </a:lnTo>
                  <a:lnTo>
                    <a:pt x="564" y="1173"/>
                  </a:lnTo>
                  <a:lnTo>
                    <a:pt x="558" y="1171"/>
                  </a:lnTo>
                  <a:lnTo>
                    <a:pt x="551" y="1169"/>
                  </a:lnTo>
                  <a:lnTo>
                    <a:pt x="544" y="1167"/>
                  </a:lnTo>
                  <a:lnTo>
                    <a:pt x="536" y="1166"/>
                  </a:lnTo>
                  <a:lnTo>
                    <a:pt x="529" y="1162"/>
                  </a:lnTo>
                  <a:lnTo>
                    <a:pt x="523" y="1161"/>
                  </a:lnTo>
                  <a:lnTo>
                    <a:pt x="514" y="1157"/>
                  </a:lnTo>
                  <a:lnTo>
                    <a:pt x="509" y="1156"/>
                  </a:lnTo>
                  <a:lnTo>
                    <a:pt x="501" y="1152"/>
                  </a:lnTo>
                  <a:lnTo>
                    <a:pt x="494" y="1149"/>
                  </a:lnTo>
                  <a:lnTo>
                    <a:pt x="486" y="1146"/>
                  </a:lnTo>
                  <a:lnTo>
                    <a:pt x="479" y="1144"/>
                  </a:lnTo>
                  <a:lnTo>
                    <a:pt x="473" y="1139"/>
                  </a:lnTo>
                  <a:lnTo>
                    <a:pt x="466" y="1136"/>
                  </a:lnTo>
                  <a:lnTo>
                    <a:pt x="458" y="1134"/>
                  </a:lnTo>
                  <a:lnTo>
                    <a:pt x="451" y="1131"/>
                  </a:lnTo>
                  <a:lnTo>
                    <a:pt x="443" y="1126"/>
                  </a:lnTo>
                  <a:lnTo>
                    <a:pt x="436" y="1121"/>
                  </a:lnTo>
                  <a:lnTo>
                    <a:pt x="429" y="1117"/>
                  </a:lnTo>
                  <a:lnTo>
                    <a:pt x="421" y="1112"/>
                  </a:lnTo>
                  <a:lnTo>
                    <a:pt x="414" y="1107"/>
                  </a:lnTo>
                  <a:lnTo>
                    <a:pt x="408" y="1102"/>
                  </a:lnTo>
                  <a:lnTo>
                    <a:pt x="399" y="1099"/>
                  </a:lnTo>
                  <a:lnTo>
                    <a:pt x="394" y="1094"/>
                  </a:lnTo>
                  <a:lnTo>
                    <a:pt x="386" y="1087"/>
                  </a:lnTo>
                  <a:lnTo>
                    <a:pt x="379" y="1082"/>
                  </a:lnTo>
                  <a:lnTo>
                    <a:pt x="373" y="1077"/>
                  </a:lnTo>
                  <a:lnTo>
                    <a:pt x="366" y="1071"/>
                  </a:lnTo>
                  <a:lnTo>
                    <a:pt x="359" y="1066"/>
                  </a:lnTo>
                  <a:lnTo>
                    <a:pt x="354" y="1059"/>
                  </a:lnTo>
                  <a:lnTo>
                    <a:pt x="347" y="1052"/>
                  </a:lnTo>
                  <a:lnTo>
                    <a:pt x="342" y="1046"/>
                  </a:lnTo>
                  <a:lnTo>
                    <a:pt x="339" y="1044"/>
                  </a:lnTo>
                  <a:lnTo>
                    <a:pt x="334" y="1039"/>
                  </a:lnTo>
                  <a:lnTo>
                    <a:pt x="331" y="1036"/>
                  </a:lnTo>
                  <a:lnTo>
                    <a:pt x="327" y="1032"/>
                  </a:lnTo>
                  <a:lnTo>
                    <a:pt x="322" y="1027"/>
                  </a:lnTo>
                  <a:lnTo>
                    <a:pt x="319" y="1024"/>
                  </a:lnTo>
                  <a:lnTo>
                    <a:pt x="312" y="1017"/>
                  </a:lnTo>
                  <a:lnTo>
                    <a:pt x="307" y="1011"/>
                  </a:lnTo>
                  <a:lnTo>
                    <a:pt x="301" y="1002"/>
                  </a:lnTo>
                  <a:lnTo>
                    <a:pt x="296" y="996"/>
                  </a:lnTo>
                  <a:lnTo>
                    <a:pt x="292" y="991"/>
                  </a:lnTo>
                  <a:lnTo>
                    <a:pt x="289" y="986"/>
                  </a:lnTo>
                  <a:lnTo>
                    <a:pt x="286" y="982"/>
                  </a:lnTo>
                  <a:lnTo>
                    <a:pt x="282" y="977"/>
                  </a:lnTo>
                  <a:lnTo>
                    <a:pt x="279" y="972"/>
                  </a:lnTo>
                  <a:lnTo>
                    <a:pt x="276" y="967"/>
                  </a:lnTo>
                  <a:lnTo>
                    <a:pt x="272" y="962"/>
                  </a:lnTo>
                  <a:lnTo>
                    <a:pt x="269" y="957"/>
                  </a:lnTo>
                  <a:lnTo>
                    <a:pt x="266" y="950"/>
                  </a:lnTo>
                  <a:lnTo>
                    <a:pt x="262" y="945"/>
                  </a:lnTo>
                  <a:lnTo>
                    <a:pt x="259" y="939"/>
                  </a:lnTo>
                  <a:lnTo>
                    <a:pt x="256" y="932"/>
                  </a:lnTo>
                  <a:lnTo>
                    <a:pt x="251" y="927"/>
                  </a:lnTo>
                  <a:lnTo>
                    <a:pt x="249" y="920"/>
                  </a:lnTo>
                  <a:lnTo>
                    <a:pt x="246" y="912"/>
                  </a:lnTo>
                  <a:lnTo>
                    <a:pt x="242" y="907"/>
                  </a:lnTo>
                  <a:lnTo>
                    <a:pt x="239" y="899"/>
                  </a:lnTo>
                  <a:lnTo>
                    <a:pt x="236" y="892"/>
                  </a:lnTo>
                  <a:lnTo>
                    <a:pt x="232" y="884"/>
                  </a:lnTo>
                  <a:lnTo>
                    <a:pt x="231" y="877"/>
                  </a:lnTo>
                  <a:lnTo>
                    <a:pt x="227" y="869"/>
                  </a:lnTo>
                  <a:lnTo>
                    <a:pt x="224" y="862"/>
                  </a:lnTo>
                  <a:lnTo>
                    <a:pt x="221" y="854"/>
                  </a:lnTo>
                  <a:lnTo>
                    <a:pt x="219" y="845"/>
                  </a:lnTo>
                  <a:lnTo>
                    <a:pt x="216" y="837"/>
                  </a:lnTo>
                  <a:lnTo>
                    <a:pt x="214" y="829"/>
                  </a:lnTo>
                  <a:lnTo>
                    <a:pt x="211" y="820"/>
                  </a:lnTo>
                  <a:lnTo>
                    <a:pt x="209" y="810"/>
                  </a:lnTo>
                  <a:lnTo>
                    <a:pt x="206" y="802"/>
                  </a:lnTo>
                  <a:lnTo>
                    <a:pt x="204" y="792"/>
                  </a:lnTo>
                  <a:lnTo>
                    <a:pt x="202" y="782"/>
                  </a:lnTo>
                  <a:lnTo>
                    <a:pt x="201" y="773"/>
                  </a:lnTo>
                  <a:lnTo>
                    <a:pt x="199" y="763"/>
                  </a:lnTo>
                  <a:lnTo>
                    <a:pt x="197" y="753"/>
                  </a:lnTo>
                  <a:lnTo>
                    <a:pt x="196" y="742"/>
                  </a:lnTo>
                  <a:lnTo>
                    <a:pt x="196" y="733"/>
                  </a:lnTo>
                  <a:lnTo>
                    <a:pt x="194" y="722"/>
                  </a:lnTo>
                  <a:lnTo>
                    <a:pt x="192" y="712"/>
                  </a:lnTo>
                  <a:lnTo>
                    <a:pt x="192" y="700"/>
                  </a:lnTo>
                  <a:lnTo>
                    <a:pt x="192" y="690"/>
                  </a:lnTo>
                  <a:lnTo>
                    <a:pt x="192" y="687"/>
                  </a:lnTo>
                  <a:lnTo>
                    <a:pt x="192" y="683"/>
                  </a:lnTo>
                  <a:lnTo>
                    <a:pt x="192" y="677"/>
                  </a:lnTo>
                  <a:lnTo>
                    <a:pt x="192" y="673"/>
                  </a:lnTo>
                  <a:lnTo>
                    <a:pt x="192" y="665"/>
                  </a:lnTo>
                  <a:lnTo>
                    <a:pt x="194" y="658"/>
                  </a:lnTo>
                  <a:lnTo>
                    <a:pt x="194" y="650"/>
                  </a:lnTo>
                  <a:lnTo>
                    <a:pt x="196" y="642"/>
                  </a:lnTo>
                  <a:lnTo>
                    <a:pt x="196" y="637"/>
                  </a:lnTo>
                  <a:lnTo>
                    <a:pt x="197" y="632"/>
                  </a:lnTo>
                  <a:lnTo>
                    <a:pt x="197" y="627"/>
                  </a:lnTo>
                  <a:lnTo>
                    <a:pt x="199" y="622"/>
                  </a:lnTo>
                  <a:lnTo>
                    <a:pt x="199" y="617"/>
                  </a:lnTo>
                  <a:lnTo>
                    <a:pt x="201" y="610"/>
                  </a:lnTo>
                  <a:lnTo>
                    <a:pt x="201" y="605"/>
                  </a:lnTo>
                  <a:lnTo>
                    <a:pt x="202" y="600"/>
                  </a:lnTo>
                  <a:lnTo>
                    <a:pt x="202" y="593"/>
                  </a:lnTo>
                  <a:lnTo>
                    <a:pt x="204" y="588"/>
                  </a:lnTo>
                  <a:lnTo>
                    <a:pt x="206" y="581"/>
                  </a:lnTo>
                  <a:lnTo>
                    <a:pt x="207" y="576"/>
                  </a:lnTo>
                  <a:lnTo>
                    <a:pt x="209" y="570"/>
                  </a:lnTo>
                  <a:lnTo>
                    <a:pt x="211" y="563"/>
                  </a:lnTo>
                  <a:lnTo>
                    <a:pt x="212" y="556"/>
                  </a:lnTo>
                  <a:lnTo>
                    <a:pt x="214" y="551"/>
                  </a:lnTo>
                  <a:lnTo>
                    <a:pt x="216" y="545"/>
                  </a:lnTo>
                  <a:lnTo>
                    <a:pt x="217" y="538"/>
                  </a:lnTo>
                  <a:lnTo>
                    <a:pt x="219" y="531"/>
                  </a:lnTo>
                  <a:lnTo>
                    <a:pt x="221" y="525"/>
                  </a:lnTo>
                  <a:lnTo>
                    <a:pt x="224" y="518"/>
                  </a:lnTo>
                  <a:lnTo>
                    <a:pt x="226" y="511"/>
                  </a:lnTo>
                  <a:lnTo>
                    <a:pt x="229" y="505"/>
                  </a:lnTo>
                  <a:lnTo>
                    <a:pt x="232" y="498"/>
                  </a:lnTo>
                  <a:lnTo>
                    <a:pt x="234" y="491"/>
                  </a:lnTo>
                  <a:lnTo>
                    <a:pt x="237" y="485"/>
                  </a:lnTo>
                  <a:lnTo>
                    <a:pt x="241" y="476"/>
                  </a:lnTo>
                  <a:lnTo>
                    <a:pt x="244" y="470"/>
                  </a:lnTo>
                  <a:lnTo>
                    <a:pt x="247" y="463"/>
                  </a:lnTo>
                  <a:lnTo>
                    <a:pt x="251" y="456"/>
                  </a:lnTo>
                  <a:lnTo>
                    <a:pt x="254" y="450"/>
                  </a:lnTo>
                  <a:lnTo>
                    <a:pt x="259" y="443"/>
                  </a:lnTo>
                  <a:lnTo>
                    <a:pt x="262" y="436"/>
                  </a:lnTo>
                  <a:lnTo>
                    <a:pt x="266" y="430"/>
                  </a:lnTo>
                  <a:lnTo>
                    <a:pt x="269" y="421"/>
                  </a:lnTo>
                  <a:lnTo>
                    <a:pt x="274" y="416"/>
                  </a:lnTo>
                  <a:lnTo>
                    <a:pt x="279" y="408"/>
                  </a:lnTo>
                  <a:lnTo>
                    <a:pt x="282" y="401"/>
                  </a:lnTo>
                  <a:lnTo>
                    <a:pt x="287" y="396"/>
                  </a:lnTo>
                  <a:lnTo>
                    <a:pt x="294" y="389"/>
                  </a:lnTo>
                  <a:lnTo>
                    <a:pt x="299" y="383"/>
                  </a:lnTo>
                  <a:lnTo>
                    <a:pt x="302" y="376"/>
                  </a:lnTo>
                  <a:lnTo>
                    <a:pt x="309" y="369"/>
                  </a:lnTo>
                  <a:lnTo>
                    <a:pt x="316" y="364"/>
                  </a:lnTo>
                  <a:lnTo>
                    <a:pt x="321" y="358"/>
                  </a:lnTo>
                  <a:lnTo>
                    <a:pt x="327" y="351"/>
                  </a:lnTo>
                  <a:lnTo>
                    <a:pt x="332" y="346"/>
                  </a:lnTo>
                  <a:lnTo>
                    <a:pt x="341" y="341"/>
                  </a:lnTo>
                  <a:lnTo>
                    <a:pt x="341" y="338"/>
                  </a:lnTo>
                  <a:lnTo>
                    <a:pt x="346" y="334"/>
                  </a:lnTo>
                  <a:lnTo>
                    <a:pt x="347" y="331"/>
                  </a:lnTo>
                  <a:lnTo>
                    <a:pt x="352" y="328"/>
                  </a:lnTo>
                  <a:lnTo>
                    <a:pt x="356" y="323"/>
                  </a:lnTo>
                  <a:lnTo>
                    <a:pt x="363" y="318"/>
                  </a:lnTo>
                  <a:lnTo>
                    <a:pt x="366" y="313"/>
                  </a:lnTo>
                  <a:lnTo>
                    <a:pt x="374" y="306"/>
                  </a:lnTo>
                  <a:lnTo>
                    <a:pt x="381" y="301"/>
                  </a:lnTo>
                  <a:lnTo>
                    <a:pt x="389" y="296"/>
                  </a:lnTo>
                  <a:lnTo>
                    <a:pt x="393" y="291"/>
                  </a:lnTo>
                  <a:lnTo>
                    <a:pt x="398" y="288"/>
                  </a:lnTo>
                  <a:lnTo>
                    <a:pt x="401" y="284"/>
                  </a:lnTo>
                  <a:lnTo>
                    <a:pt x="408" y="281"/>
                  </a:lnTo>
                  <a:lnTo>
                    <a:pt x="413" y="278"/>
                  </a:lnTo>
                  <a:lnTo>
                    <a:pt x="416" y="276"/>
                  </a:lnTo>
                  <a:lnTo>
                    <a:pt x="423" y="271"/>
                  </a:lnTo>
                  <a:lnTo>
                    <a:pt x="429" y="269"/>
                  </a:lnTo>
                  <a:lnTo>
                    <a:pt x="433" y="264"/>
                  </a:lnTo>
                  <a:lnTo>
                    <a:pt x="439" y="263"/>
                  </a:lnTo>
                  <a:lnTo>
                    <a:pt x="444" y="258"/>
                  </a:lnTo>
                  <a:lnTo>
                    <a:pt x="451" y="254"/>
                  </a:lnTo>
                  <a:lnTo>
                    <a:pt x="458" y="251"/>
                  </a:lnTo>
                  <a:lnTo>
                    <a:pt x="464" y="248"/>
                  </a:lnTo>
                  <a:lnTo>
                    <a:pt x="471" y="244"/>
                  </a:lnTo>
                  <a:lnTo>
                    <a:pt x="478" y="243"/>
                  </a:lnTo>
                  <a:lnTo>
                    <a:pt x="484" y="237"/>
                  </a:lnTo>
                  <a:lnTo>
                    <a:pt x="491" y="234"/>
                  </a:lnTo>
                  <a:lnTo>
                    <a:pt x="499" y="231"/>
                  </a:lnTo>
                  <a:lnTo>
                    <a:pt x="506" y="229"/>
                  </a:lnTo>
                  <a:lnTo>
                    <a:pt x="514" y="226"/>
                  </a:lnTo>
                  <a:lnTo>
                    <a:pt x="523" y="224"/>
                  </a:lnTo>
                  <a:lnTo>
                    <a:pt x="531" y="221"/>
                  </a:lnTo>
                  <a:lnTo>
                    <a:pt x="539" y="219"/>
                  </a:lnTo>
                  <a:lnTo>
                    <a:pt x="548" y="216"/>
                  </a:lnTo>
                  <a:lnTo>
                    <a:pt x="556" y="212"/>
                  </a:lnTo>
                  <a:lnTo>
                    <a:pt x="564" y="211"/>
                  </a:lnTo>
                  <a:lnTo>
                    <a:pt x="575" y="209"/>
                  </a:lnTo>
                  <a:lnTo>
                    <a:pt x="583" y="206"/>
                  </a:lnTo>
                  <a:lnTo>
                    <a:pt x="593" y="204"/>
                  </a:lnTo>
                  <a:lnTo>
                    <a:pt x="601" y="202"/>
                  </a:lnTo>
                  <a:lnTo>
                    <a:pt x="613" y="201"/>
                  </a:lnTo>
                  <a:lnTo>
                    <a:pt x="621" y="199"/>
                  </a:lnTo>
                  <a:lnTo>
                    <a:pt x="631" y="197"/>
                  </a:lnTo>
                  <a:lnTo>
                    <a:pt x="641" y="196"/>
                  </a:lnTo>
                  <a:lnTo>
                    <a:pt x="653" y="196"/>
                  </a:lnTo>
                  <a:lnTo>
                    <a:pt x="663" y="194"/>
                  </a:lnTo>
                  <a:lnTo>
                    <a:pt x="675" y="194"/>
                  </a:lnTo>
                  <a:lnTo>
                    <a:pt x="685" y="194"/>
                  </a:lnTo>
                  <a:lnTo>
                    <a:pt x="698" y="19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grpSp>
      <p:pic>
        <p:nvPicPr>
          <p:cNvPr id="5" name="图片 4"/>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80262" y="6343311"/>
            <a:ext cx="1380565" cy="514787"/>
          </a:xfrm>
          <a:prstGeom prst="rect">
            <a:avLst/>
          </a:prstGeom>
        </p:spPr>
      </p:pic>
      <p:sp>
        <p:nvSpPr>
          <p:cNvPr id="4" name="MH_Title_1"/>
          <p:cNvSpPr/>
          <p:nvPr>
            <p:custDataLst>
              <p:tags r:id="rId2"/>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50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3"/>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Yu Gothic UI Semibold" panose="020B0700000000000000" charset="-128"/>
              <a:ea typeface="Yu Gothic UI Semibold" panose="020B0700000000000000" charset="-128"/>
            </a:endParaRPr>
          </a:p>
        </p:txBody>
      </p:sp>
      <p:sp>
        <p:nvSpPr>
          <p:cNvPr id="20" name="MH_Other_2"/>
          <p:cNvSpPr/>
          <p:nvPr>
            <p:custDataLst>
              <p:tags r:id="rId4"/>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Yu Gothic UI Semibold" panose="020B0700000000000000" charset="-128"/>
              <a:ea typeface="Yu Gothic UI Semibold" panose="020B0700000000000000" charset="-128"/>
            </a:endParaRPr>
          </a:p>
        </p:txBody>
      </p:sp>
      <p:sp>
        <p:nvSpPr>
          <p:cNvPr id="21" name="MH_Other_3"/>
          <p:cNvSpPr/>
          <p:nvPr>
            <p:custDataLst>
              <p:tags r:id="rId5"/>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Yu Gothic UI Semibold" panose="020B0700000000000000" charset="-128"/>
              <a:ea typeface="Yu Gothic UI Semibold" panose="020B0700000000000000" charset="-128"/>
            </a:endParaRPr>
          </a:p>
        </p:txBody>
      </p:sp>
      <p:sp>
        <p:nvSpPr>
          <p:cNvPr id="22" name="MH_Other_4"/>
          <p:cNvSpPr/>
          <p:nvPr>
            <p:custDataLst>
              <p:tags r:id="rId6"/>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Yu Gothic UI Semibold" panose="020B0700000000000000" charset="-128"/>
              <a:ea typeface="Yu Gothic UI Semibold" panose="020B0700000000000000" charset="-128"/>
            </a:endParaRPr>
          </a:p>
        </p:txBody>
      </p:sp>
      <p:cxnSp>
        <p:nvCxnSpPr>
          <p:cNvPr id="7" name="直接连接符 6"/>
          <p:cNvCxnSpPr>
            <a:endCxn id="27" idx="4"/>
          </p:cNvCxnSpPr>
          <p:nvPr/>
        </p:nvCxnSpPr>
        <p:spPr>
          <a:xfrm>
            <a:off x="5235575" y="2039620"/>
            <a:ext cx="0" cy="2175510"/>
          </a:xfrm>
          <a:prstGeom prst="line">
            <a:avLst/>
          </a:prstGeom>
          <a:noFill/>
          <a:ln w="12700" cap="flat" cmpd="sng" algn="ctr">
            <a:solidFill>
              <a:sysClr val="window" lastClr="FFFFFF">
                <a:lumMod val="65000"/>
              </a:sysClr>
            </a:solidFill>
            <a:prstDash val="solid"/>
          </a:ln>
          <a:effectLst/>
        </p:spPr>
      </p:cxnSp>
      <p:grpSp>
        <p:nvGrpSpPr>
          <p:cNvPr id="11" name="组合 10"/>
          <p:cNvGrpSpPr/>
          <p:nvPr/>
        </p:nvGrpSpPr>
        <p:grpSpPr>
          <a:xfrm>
            <a:off x="4929378" y="1683033"/>
            <a:ext cx="611989" cy="611989"/>
            <a:chOff x="3714631" y="870654"/>
            <a:chExt cx="612068" cy="612068"/>
          </a:xfrm>
          <a:solidFill>
            <a:srgbClr val="E5AB74"/>
          </a:solidFill>
        </p:grpSpPr>
        <p:sp>
          <p:nvSpPr>
            <p:cNvPr id="15" name="椭圆 14"/>
            <p:cNvSpPr/>
            <p:nvPr/>
          </p:nvSpPr>
          <p:spPr>
            <a:xfrm>
              <a:off x="3714631" y="870654"/>
              <a:ext cx="612068" cy="612068"/>
            </a:xfrm>
            <a:prstGeom prst="ellipse">
              <a:avLst/>
            </a:prstGeom>
            <a:grpFill/>
            <a:ln w="25400" cap="flat" cmpd="sng" algn="ctr">
              <a:noFill/>
              <a:prstDash val="solid"/>
            </a:ln>
            <a:effectLst/>
          </p:spPr>
          <p:txBody>
            <a:bodyPr rtlCol="0" anchor="ctr"/>
            <a:lst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a:lstStyle>
            <a:p>
              <a:pPr algn="ctr" defTabSz="913765">
                <a:defRPr/>
              </a:pPr>
              <a:endParaRPr lang="zh-CN" altLang="en-US" sz="2400" kern="0">
                <a:solidFill>
                  <a:prstClr val="white"/>
                </a:solidFill>
                <a:latin typeface="Calibri" panose="020F0502020204030204"/>
                <a:ea typeface="宋体" panose="02010600030101010101" pitchFamily="2" charset="-122"/>
              </a:endParaRPr>
            </a:p>
          </p:txBody>
        </p:sp>
        <p:sp>
          <p:nvSpPr>
            <p:cNvPr id="18" name="TextBox 50"/>
            <p:cNvSpPr txBox="1"/>
            <p:nvPr/>
          </p:nvSpPr>
          <p:spPr>
            <a:xfrm>
              <a:off x="3817696" y="1022799"/>
              <a:ext cx="405932" cy="307817"/>
            </a:xfrm>
            <a:prstGeom prst="rect">
              <a:avLst/>
            </a:prstGeom>
            <a:grpFill/>
          </p:spPr>
          <p:txBody>
            <a:bodyPr wrap="none" rtlCol="0">
              <a:spAutoFit/>
            </a:bodyPr>
            <a:lst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a:lstStyle>
            <a:p>
              <a:pPr algn="ctr" defTabSz="913765">
                <a:defRPr/>
              </a:pPr>
              <a:r>
                <a:rPr lang="en-US" altLang="en-US" sz="1400" b="1" kern="0" dirty="0">
                  <a:solidFill>
                    <a:prstClr val="white"/>
                  </a:solidFill>
                  <a:latin typeface="微软雅黑" panose="020B0503020204020204" pitchFamily="34" charset="-122"/>
                  <a:ea typeface="微软雅黑" panose="020B0503020204020204" pitchFamily="34" charset="-122"/>
                </a:rPr>
                <a:t>01</a:t>
              </a:r>
              <a:endParaRPr lang="zh-CN" altLang="en-US" sz="1400" b="1" kern="0" dirty="0">
                <a:solidFill>
                  <a:prstClr val="white"/>
                </a:solidFill>
                <a:latin typeface="微软雅黑" panose="020B0503020204020204" pitchFamily="34" charset="-122"/>
                <a:ea typeface="微软雅黑" panose="020B0503020204020204" pitchFamily="34" charset="-122"/>
              </a:endParaRPr>
            </a:p>
          </p:txBody>
        </p:sp>
      </p:grpSp>
      <p:grpSp>
        <p:nvGrpSpPr>
          <p:cNvPr id="23" name="组合 22"/>
          <p:cNvGrpSpPr/>
          <p:nvPr/>
        </p:nvGrpSpPr>
        <p:grpSpPr>
          <a:xfrm>
            <a:off x="4929378" y="2643015"/>
            <a:ext cx="611989" cy="611989"/>
            <a:chOff x="3707904" y="1851670"/>
            <a:chExt cx="612068" cy="612068"/>
          </a:xfrm>
          <a:solidFill>
            <a:srgbClr val="5BA78C"/>
          </a:solidFill>
        </p:grpSpPr>
        <p:sp>
          <p:nvSpPr>
            <p:cNvPr id="24" name="椭圆 23"/>
            <p:cNvSpPr/>
            <p:nvPr/>
          </p:nvSpPr>
          <p:spPr>
            <a:xfrm>
              <a:off x="3707904" y="1851670"/>
              <a:ext cx="612068" cy="612068"/>
            </a:xfrm>
            <a:prstGeom prst="ellipse">
              <a:avLst/>
            </a:prstGeom>
            <a:grpFill/>
            <a:ln w="25400" cap="flat" cmpd="sng" algn="ctr">
              <a:noFill/>
              <a:prstDash val="solid"/>
            </a:ln>
            <a:effectLst/>
          </p:spPr>
          <p:txBody>
            <a:bodyPr rtlCol="0" anchor="ctr"/>
            <a:lst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a:lstStyle>
            <a:p>
              <a:pPr algn="ctr" defTabSz="913765">
                <a:defRPr/>
              </a:pPr>
              <a:endParaRPr lang="zh-CN" altLang="en-US" sz="2400" kern="0">
                <a:solidFill>
                  <a:prstClr val="white"/>
                </a:solidFill>
                <a:latin typeface="Calibri" panose="020F0502020204030204"/>
                <a:ea typeface="宋体" panose="02010600030101010101" pitchFamily="2" charset="-122"/>
              </a:endParaRPr>
            </a:p>
          </p:txBody>
        </p:sp>
        <p:sp>
          <p:nvSpPr>
            <p:cNvPr id="25" name="TextBox 53"/>
            <p:cNvSpPr txBox="1"/>
            <p:nvPr/>
          </p:nvSpPr>
          <p:spPr>
            <a:xfrm>
              <a:off x="3810969" y="2003815"/>
              <a:ext cx="405932" cy="307817"/>
            </a:xfrm>
            <a:prstGeom prst="rect">
              <a:avLst/>
            </a:prstGeom>
            <a:grpFill/>
          </p:spPr>
          <p:txBody>
            <a:bodyPr wrap="none" rtlCol="0">
              <a:spAutoFit/>
            </a:bodyPr>
            <a:lst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a:lstStyle>
            <a:p>
              <a:pPr algn="ctr" defTabSz="913765">
                <a:defRPr/>
              </a:pPr>
              <a:r>
                <a:rPr lang="en-US" altLang="en-US" sz="1400" b="1" kern="0" dirty="0">
                  <a:solidFill>
                    <a:prstClr val="white"/>
                  </a:solidFill>
                  <a:latin typeface="微软雅黑" panose="020B0503020204020204" pitchFamily="34" charset="-122"/>
                  <a:ea typeface="微软雅黑" panose="020B0503020204020204" pitchFamily="34" charset="-122"/>
                </a:rPr>
                <a:t>02</a:t>
              </a:r>
              <a:endParaRPr lang="zh-CN" altLang="en-US" sz="1400" b="1" kern="0" dirty="0">
                <a:solidFill>
                  <a:prstClr val="white"/>
                </a:solidFill>
                <a:latin typeface="微软雅黑" panose="020B0503020204020204" pitchFamily="34" charset="-122"/>
                <a:ea typeface="微软雅黑" panose="020B0503020204020204" pitchFamily="34" charset="-122"/>
              </a:endParaRPr>
            </a:p>
          </p:txBody>
        </p:sp>
      </p:grpSp>
      <p:grpSp>
        <p:nvGrpSpPr>
          <p:cNvPr id="26" name="组合 25"/>
          <p:cNvGrpSpPr/>
          <p:nvPr/>
        </p:nvGrpSpPr>
        <p:grpSpPr>
          <a:xfrm>
            <a:off x="4929378" y="3602997"/>
            <a:ext cx="611989" cy="611989"/>
            <a:chOff x="3701177" y="2832686"/>
            <a:chExt cx="612068" cy="612068"/>
          </a:xfrm>
          <a:solidFill>
            <a:srgbClr val="3F5361"/>
          </a:solidFill>
        </p:grpSpPr>
        <p:sp>
          <p:nvSpPr>
            <p:cNvPr id="27" name="椭圆 26"/>
            <p:cNvSpPr/>
            <p:nvPr/>
          </p:nvSpPr>
          <p:spPr>
            <a:xfrm>
              <a:off x="3701177" y="2832686"/>
              <a:ext cx="612068" cy="612068"/>
            </a:xfrm>
            <a:prstGeom prst="ellipse">
              <a:avLst/>
            </a:prstGeom>
            <a:grpFill/>
            <a:ln w="25400" cap="flat" cmpd="sng" algn="ctr">
              <a:noFill/>
              <a:prstDash val="solid"/>
            </a:ln>
            <a:effectLst/>
          </p:spPr>
          <p:txBody>
            <a:bodyPr rtlCol="0" anchor="ctr"/>
            <a:lst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a:lstStyle>
            <a:p>
              <a:pPr algn="ctr" defTabSz="913765">
                <a:defRPr/>
              </a:pPr>
              <a:endParaRPr lang="zh-CN" altLang="en-US" sz="2400" kern="0">
                <a:solidFill>
                  <a:prstClr val="white"/>
                </a:solidFill>
                <a:latin typeface="Calibri" panose="020F0502020204030204"/>
                <a:ea typeface="宋体" panose="02010600030101010101" pitchFamily="2" charset="-122"/>
              </a:endParaRPr>
            </a:p>
          </p:txBody>
        </p:sp>
        <p:sp>
          <p:nvSpPr>
            <p:cNvPr id="28" name="TextBox 56"/>
            <p:cNvSpPr txBox="1"/>
            <p:nvPr/>
          </p:nvSpPr>
          <p:spPr>
            <a:xfrm>
              <a:off x="3804242" y="2984831"/>
              <a:ext cx="405932" cy="307817"/>
            </a:xfrm>
            <a:prstGeom prst="rect">
              <a:avLst/>
            </a:prstGeom>
            <a:grpFill/>
          </p:spPr>
          <p:txBody>
            <a:bodyPr wrap="none" rtlCol="0">
              <a:spAutoFit/>
            </a:bodyPr>
            <a:lst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a:lstStyle>
            <a:p>
              <a:pPr algn="ctr" defTabSz="913765">
                <a:defRPr/>
              </a:pPr>
              <a:r>
                <a:rPr lang="en-US" altLang="en-US" sz="1400" b="1" kern="0" dirty="0">
                  <a:solidFill>
                    <a:prstClr val="white"/>
                  </a:solidFill>
                  <a:latin typeface="微软雅黑" panose="020B0503020204020204" pitchFamily="34" charset="-122"/>
                  <a:ea typeface="微软雅黑" panose="020B0503020204020204" pitchFamily="34" charset="-122"/>
                </a:rPr>
                <a:t>03</a:t>
              </a:r>
              <a:endParaRPr lang="zh-CN" altLang="en-US" sz="1400" b="1" kern="0" dirty="0">
                <a:solidFill>
                  <a:prstClr val="white"/>
                </a:solidFill>
                <a:latin typeface="微软雅黑" panose="020B0503020204020204" pitchFamily="34" charset="-122"/>
                <a:ea typeface="微软雅黑" panose="020B0503020204020204" pitchFamily="34" charset="-122"/>
              </a:endParaRPr>
            </a:p>
          </p:txBody>
        </p:sp>
      </p:grpSp>
      <p:sp>
        <p:nvSpPr>
          <p:cNvPr id="33" name="矩形 32"/>
          <p:cNvSpPr/>
          <p:nvPr/>
        </p:nvSpPr>
        <p:spPr>
          <a:xfrm>
            <a:off x="5705134" y="3755635"/>
            <a:ext cx="1557355" cy="337185"/>
          </a:xfrm>
          <a:prstGeom prst="rect">
            <a:avLst/>
          </a:prstGeom>
        </p:spPr>
        <p:txBody>
          <a:bodyPr wrap="square">
            <a:spAutoFit/>
          </a:bodyPr>
          <a:lst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a:lstStyle>
          <a:p>
            <a:pPr defTabSz="913765"/>
            <a:r>
              <a:rPr lang="zh-CN" altLang="en-US" sz="1600" b="1" dirty="0" smtClean="0">
                <a:solidFill>
                  <a:schemeClr val="tx1"/>
                </a:solidFill>
                <a:latin typeface="微软雅黑" panose="020B0503020204020204" pitchFamily="34" charset="-122"/>
                <a:ea typeface="微软雅黑" panose="020B0503020204020204" pitchFamily="34" charset="-122"/>
              </a:rPr>
              <a:t>登录注册案例</a:t>
            </a:r>
            <a:endParaRPr lang="zh-CN" altLang="en-US" sz="1600" b="1" dirty="0" smtClean="0">
              <a:solidFill>
                <a:schemeClr val="tx1"/>
              </a:solidFill>
              <a:latin typeface="微软雅黑" panose="020B0503020204020204" pitchFamily="34" charset="-122"/>
              <a:ea typeface="微软雅黑" panose="020B0503020204020204" pitchFamily="34" charset="-122"/>
            </a:endParaRPr>
          </a:p>
        </p:txBody>
      </p:sp>
      <p:sp>
        <p:nvSpPr>
          <p:cNvPr id="34" name="矩形 33"/>
          <p:cNvSpPr/>
          <p:nvPr/>
        </p:nvSpPr>
        <p:spPr>
          <a:xfrm>
            <a:off x="5704840" y="2795270"/>
            <a:ext cx="2359660" cy="337185"/>
          </a:xfrm>
          <a:prstGeom prst="rect">
            <a:avLst/>
          </a:prstGeom>
        </p:spPr>
        <p:txBody>
          <a:bodyPr wrap="square">
            <a:spAutoFit/>
          </a:bodyPr>
          <a:lst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a:lstStyle>
          <a:p>
            <a:pPr defTabSz="913765"/>
            <a:r>
              <a:rPr lang="en-US" altLang="zh-CN" sz="1600" b="1" dirty="0" smtClean="0">
                <a:solidFill>
                  <a:schemeClr val="tx1"/>
                </a:solidFill>
                <a:latin typeface="微软雅黑" panose="020B0503020204020204" pitchFamily="34" charset="-122"/>
                <a:ea typeface="微软雅黑" panose="020B0503020204020204" pitchFamily="34" charset="-122"/>
              </a:rPr>
              <a:t>django</a:t>
            </a:r>
            <a:r>
              <a:rPr lang="zh-CN" altLang="en-US" sz="1600" b="1" dirty="0" smtClean="0">
                <a:solidFill>
                  <a:schemeClr val="tx1"/>
                </a:solidFill>
                <a:latin typeface="微软雅黑" panose="020B0503020204020204" pitchFamily="34" charset="-122"/>
                <a:ea typeface="微软雅黑" panose="020B0503020204020204" pitchFamily="34" charset="-122"/>
              </a:rPr>
              <a:t>的</a:t>
            </a:r>
            <a:r>
              <a:rPr lang="en-US" altLang="zh-CN" sz="1600" b="1" dirty="0" smtClean="0">
                <a:solidFill>
                  <a:schemeClr val="tx1"/>
                </a:solidFill>
                <a:latin typeface="微软雅黑" panose="020B0503020204020204" pitchFamily="34" charset="-122"/>
                <a:ea typeface="微软雅黑" panose="020B0503020204020204" pitchFamily="34" charset="-122"/>
              </a:rPr>
              <a:t>form</a:t>
            </a:r>
            <a:r>
              <a:rPr lang="zh-CN" altLang="en-US" sz="1600" b="1" dirty="0" smtClean="0">
                <a:solidFill>
                  <a:schemeClr val="tx1"/>
                </a:solidFill>
                <a:latin typeface="微软雅黑" panose="020B0503020204020204" pitchFamily="34" charset="-122"/>
                <a:ea typeface="微软雅黑" panose="020B0503020204020204" pitchFamily="34" charset="-122"/>
              </a:rPr>
              <a:t>表单</a:t>
            </a:r>
            <a:endParaRPr lang="zh-CN" altLang="en-US" sz="1600" b="1" dirty="0" smtClean="0">
              <a:solidFill>
                <a:schemeClr val="tx1"/>
              </a:solidFill>
              <a:latin typeface="微软雅黑" panose="020B0503020204020204" pitchFamily="34" charset="-122"/>
              <a:ea typeface="微软雅黑" panose="020B0503020204020204" pitchFamily="34" charset="-122"/>
            </a:endParaRPr>
          </a:p>
        </p:txBody>
      </p:sp>
      <p:sp>
        <p:nvSpPr>
          <p:cNvPr id="35" name="矩形 34"/>
          <p:cNvSpPr/>
          <p:nvPr/>
        </p:nvSpPr>
        <p:spPr>
          <a:xfrm>
            <a:off x="5660925" y="1836103"/>
            <a:ext cx="2160470" cy="337185"/>
          </a:xfrm>
          <a:prstGeom prst="rect">
            <a:avLst/>
          </a:prstGeom>
        </p:spPr>
        <p:txBody>
          <a:bodyPr wrap="square">
            <a:spAutoFit/>
          </a:bodyPr>
          <a:lst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a:lstStyle>
          <a:p>
            <a:pPr defTabSz="913765"/>
            <a:r>
              <a:rPr lang="en-US" altLang="zh-CN" sz="1600" b="1" dirty="0" smtClean="0">
                <a:solidFill>
                  <a:schemeClr val="tx1"/>
                </a:solidFill>
                <a:latin typeface="微软雅黑" panose="020B0503020204020204" pitchFamily="34" charset="-122"/>
                <a:ea typeface="微软雅黑" panose="020B0503020204020204" pitchFamily="34" charset="-122"/>
              </a:rPr>
              <a:t>session</a:t>
            </a:r>
            <a:r>
              <a:rPr lang="zh-CN" altLang="en-US" sz="1600" b="1" dirty="0" smtClean="0">
                <a:solidFill>
                  <a:schemeClr val="tx1"/>
                </a:solidFill>
                <a:latin typeface="微软雅黑" panose="020B0503020204020204" pitchFamily="34" charset="-122"/>
                <a:ea typeface="微软雅黑" panose="020B0503020204020204" pitchFamily="34" charset="-122"/>
              </a:rPr>
              <a:t>保存状态</a:t>
            </a:r>
            <a:endParaRPr lang="zh-CN" altLang="en-US" sz="1600" b="1" dirty="0" smtClean="0">
              <a:solidFill>
                <a:schemeClr val="tx1"/>
              </a:solidFill>
              <a:latin typeface="微软雅黑" panose="020B0503020204020204" pitchFamily="34" charset="-122"/>
              <a:ea typeface="微软雅黑" panose="020B0503020204020204" pitchFamily="34" charset="-122"/>
            </a:endParaRPr>
          </a:p>
        </p:txBody>
      </p:sp>
    </p:spTree>
  </p:cSld>
  <p:clrMapOvr>
    <a:masterClrMapping/>
  </p:clrMapOvr>
  <p:transition spd="slow" advClick="0" advTm="3000">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randombar(horizontal)">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MH_Title_1"/>
          <p:cNvSpPr/>
          <p:nvPr>
            <p:custDataLst>
              <p:tags r:id="rId1"/>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25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2"/>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Yu Gothic UI Semibold" panose="020B0700000000000000" charset="-128"/>
              <a:ea typeface="Yu Gothic UI Semibold" panose="020B0700000000000000" charset="-128"/>
            </a:endParaRPr>
          </a:p>
        </p:txBody>
      </p:sp>
      <p:sp>
        <p:nvSpPr>
          <p:cNvPr id="20" name="MH_Other_2"/>
          <p:cNvSpPr/>
          <p:nvPr>
            <p:custDataLst>
              <p:tags r:id="rId3"/>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Yu Gothic UI Semibold" panose="020B0700000000000000" charset="-128"/>
              <a:ea typeface="Yu Gothic UI Semibold" panose="020B0700000000000000" charset="-128"/>
            </a:endParaRPr>
          </a:p>
        </p:txBody>
      </p:sp>
      <p:sp>
        <p:nvSpPr>
          <p:cNvPr id="21" name="MH_Other_3"/>
          <p:cNvSpPr/>
          <p:nvPr>
            <p:custDataLst>
              <p:tags r:id="rId4"/>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Yu Gothic UI Semibold" panose="020B0700000000000000" charset="-128"/>
              <a:ea typeface="Yu Gothic UI Semibold" panose="020B0700000000000000" charset="-128"/>
            </a:endParaRPr>
          </a:p>
        </p:txBody>
      </p:sp>
      <p:sp>
        <p:nvSpPr>
          <p:cNvPr id="22" name="MH_Other_4"/>
          <p:cNvSpPr/>
          <p:nvPr>
            <p:custDataLst>
              <p:tags r:id="rId5"/>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Yu Gothic UI Semibold" panose="020B0700000000000000" charset="-128"/>
              <a:ea typeface="Yu Gothic UI Semibold" panose="020B0700000000000000" charset="-128"/>
            </a:endParaRPr>
          </a:p>
        </p:txBody>
      </p:sp>
      <p:sp>
        <p:nvSpPr>
          <p:cNvPr id="4" name="标题 3"/>
          <p:cNvSpPr>
            <a:spLocks noGrp="1"/>
          </p:cNvSpPr>
          <p:nvPr>
            <p:ph type="title"/>
          </p:nvPr>
        </p:nvSpPr>
        <p:spPr>
          <a:xfrm>
            <a:off x="580390" y="223871"/>
            <a:ext cx="11239500" cy="968375"/>
          </a:xfrm>
        </p:spPr>
        <p:txBody>
          <a:bodyPr/>
          <a:lstStyle/>
          <a:p>
            <a:r>
              <a:rPr lang="en-US" altLang="zh-CN" dirty="0"/>
              <a:t>admin</a:t>
            </a:r>
            <a:r>
              <a:rPr lang="zh-CN" altLang="en-US" dirty="0"/>
              <a:t>创建用户</a:t>
            </a:r>
            <a:r>
              <a:rPr lang="en-US" altLang="zh-CN" dirty="0"/>
              <a:t>:</a:t>
            </a:r>
            <a:endParaRPr lang="en-US" altLang="zh-CN" dirty="0"/>
          </a:p>
        </p:txBody>
      </p:sp>
      <p:sp>
        <p:nvSpPr>
          <p:cNvPr id="3" name="文本框 2"/>
          <p:cNvSpPr txBox="1"/>
          <p:nvPr/>
        </p:nvSpPr>
        <p:spPr>
          <a:xfrm>
            <a:off x="2062480" y="1192530"/>
            <a:ext cx="6076315" cy="829945"/>
          </a:xfrm>
          <a:prstGeom prst="rect">
            <a:avLst/>
          </a:prstGeom>
          <a:solidFill>
            <a:srgbClr val="E5AB74"/>
          </a:solidFill>
        </p:spPr>
        <p:txBody>
          <a:bodyPr wrap="square" rtlCol="0" anchor="t">
            <a:spAutoFit/>
          </a:bodyPr>
          <a:lstStyle/>
          <a:p>
            <a:r>
              <a:rPr lang="zh-CN" altLang="en-US" sz="1600">
                <a:latin typeface="微软雅黑" panose="020B0503020204020204" pitchFamily="34" charset="-122"/>
                <a:ea typeface="微软雅黑" panose="020B0503020204020204" pitchFamily="34" charset="-122"/>
                <a:cs typeface="微软雅黑" panose="020B0503020204020204" pitchFamily="34" charset="-122"/>
              </a:rPr>
              <a:t>运行命令</a:t>
            </a:r>
            <a:r>
              <a:rPr lang="en-US" altLang="zh-CN" sz="160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600">
                <a:latin typeface="微软雅黑" panose="020B0503020204020204" pitchFamily="34" charset="-122"/>
                <a:ea typeface="微软雅黑" panose="020B0503020204020204" pitchFamily="34" charset="-122"/>
                <a:cs typeface="微软雅黑" panose="020B0503020204020204" pitchFamily="34" charset="-122"/>
              </a:rPr>
              <a:t>创建一个管理员账号</a:t>
            </a:r>
            <a:r>
              <a:rPr lang="en-US" altLang="zh-CN" sz="160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1600">
              <a:latin typeface="微软雅黑" panose="020B0503020204020204" pitchFamily="34" charset="-122"/>
              <a:ea typeface="微软雅黑" panose="020B0503020204020204" pitchFamily="34" charset="-122"/>
              <a:cs typeface="微软雅黑" panose="020B0503020204020204" pitchFamily="34" charset="-122"/>
            </a:endParaRPr>
          </a:p>
          <a:p>
            <a:r>
              <a:rPr lang="en-US" altLang="zh-CN" sz="1600">
                <a:latin typeface="微软雅黑" panose="020B0503020204020204" pitchFamily="34" charset="-122"/>
                <a:ea typeface="微软雅黑" panose="020B0503020204020204" pitchFamily="34" charset="-122"/>
                <a:cs typeface="微软雅黑" panose="020B0503020204020204" pitchFamily="34" charset="-122"/>
              </a:rPr>
              <a:t>python manage.py createsuperuser</a:t>
            </a:r>
            <a:endParaRPr lang="en-US" altLang="zh-CN" sz="1600">
              <a:latin typeface="微软雅黑" panose="020B0503020204020204" pitchFamily="34" charset="-122"/>
              <a:ea typeface="微软雅黑" panose="020B0503020204020204" pitchFamily="34" charset="-122"/>
              <a:cs typeface="微软雅黑" panose="020B0503020204020204" pitchFamily="34" charset="-122"/>
            </a:endParaRPr>
          </a:p>
          <a:p>
            <a:r>
              <a:rPr lang="en-US" altLang="zh-CN" sz="1600">
                <a:latin typeface="微软雅黑" panose="020B0503020204020204" pitchFamily="34" charset="-122"/>
                <a:ea typeface="微软雅黑" panose="020B0503020204020204" pitchFamily="34" charset="-122"/>
                <a:cs typeface="微软雅黑" panose="020B0503020204020204" pitchFamily="34" charset="-122"/>
              </a:rPr>
              <a:t>按提示输入用户名、邮箱、密码</a:t>
            </a:r>
            <a:endParaRPr lang="en-US" altLang="zh-CN" sz="1600">
              <a:latin typeface="微软雅黑" panose="020B0503020204020204" pitchFamily="34" charset="-122"/>
              <a:ea typeface="微软雅黑" panose="020B0503020204020204" pitchFamily="34" charset="-122"/>
              <a:cs typeface="微软雅黑" panose="020B0503020204020204" pitchFamily="34" charset="-122"/>
            </a:endParaRPr>
          </a:p>
        </p:txBody>
      </p:sp>
      <p:pic>
        <p:nvPicPr>
          <p:cNvPr id="5" name="图片 4"/>
          <p:cNvPicPr>
            <a:picLocks noChangeAspect="1"/>
          </p:cNvPicPr>
          <p:nvPr/>
        </p:nvPicPr>
        <p:blipFill>
          <a:blip r:embed="rId6"/>
          <a:stretch>
            <a:fillRect/>
          </a:stretch>
        </p:blipFill>
        <p:spPr>
          <a:xfrm>
            <a:off x="2062480" y="2022475"/>
            <a:ext cx="6076315" cy="1000125"/>
          </a:xfrm>
          <a:prstGeom prst="rect">
            <a:avLst/>
          </a:prstGeom>
        </p:spPr>
      </p:pic>
      <p:pic>
        <p:nvPicPr>
          <p:cNvPr id="6" name="图片 5"/>
          <p:cNvPicPr>
            <a:picLocks noChangeAspect="1"/>
          </p:cNvPicPr>
          <p:nvPr/>
        </p:nvPicPr>
        <p:blipFill>
          <a:blip r:embed="rId7"/>
          <a:stretch>
            <a:fillRect/>
          </a:stretch>
        </p:blipFill>
        <p:spPr>
          <a:xfrm>
            <a:off x="2068195" y="3340100"/>
            <a:ext cx="6070600" cy="3121025"/>
          </a:xfrm>
          <a:prstGeom prst="rect">
            <a:avLst/>
          </a:prstGeom>
        </p:spPr>
      </p:pic>
      <p:sp>
        <p:nvSpPr>
          <p:cNvPr id="227" name=" 227"/>
          <p:cNvSpPr/>
          <p:nvPr/>
        </p:nvSpPr>
        <p:spPr>
          <a:xfrm>
            <a:off x="7778750" y="3021965"/>
            <a:ext cx="3523615" cy="1339215"/>
          </a:xfrm>
          <a:prstGeom prst="wedgeEllipseCallout">
            <a:avLst>
              <a:gd name="adj1" fmla="val -25046"/>
              <a:gd name="adj2" fmla="val 65698"/>
            </a:avLst>
          </a:prstGeom>
          <a:solidFill>
            <a:srgbClr val="5BA78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r>
              <a:rPr lang="zh-CN" altLang="en-US" dirty="0">
                <a:solidFill>
                  <a:srgbClr val="FFFFFF"/>
                </a:solidFill>
              </a:rPr>
              <a:t>用创建的用户登录</a:t>
            </a:r>
            <a:endParaRPr lang="zh-CN" altLang="en-US" dirty="0">
              <a:solidFill>
                <a:srgbClr val="FFFFFF"/>
              </a:solidFill>
            </a:endParaRPr>
          </a:p>
        </p:txBody>
      </p:sp>
    </p:spTree>
    <p:custDataLst>
      <p:tags r:id="rId8"/>
    </p:custDataLst>
  </p:cSld>
  <p:clrMapOvr>
    <a:masterClrMapping/>
  </p:clrMapOvr>
  <p:transition spd="slow" advClick="0" advTm="3000">
    <p:randomBar dir="vert"/>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MH_Title_1"/>
          <p:cNvSpPr/>
          <p:nvPr>
            <p:custDataLst>
              <p:tags r:id="rId1"/>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25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2"/>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Yu Gothic UI Semibold" panose="020B0700000000000000" charset="-128"/>
              <a:ea typeface="Yu Gothic UI Semibold" panose="020B0700000000000000" charset="-128"/>
            </a:endParaRPr>
          </a:p>
        </p:txBody>
      </p:sp>
      <p:sp>
        <p:nvSpPr>
          <p:cNvPr id="20" name="MH_Other_2"/>
          <p:cNvSpPr/>
          <p:nvPr>
            <p:custDataLst>
              <p:tags r:id="rId3"/>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Yu Gothic UI Semibold" panose="020B0700000000000000" charset="-128"/>
              <a:ea typeface="Yu Gothic UI Semibold" panose="020B0700000000000000" charset="-128"/>
            </a:endParaRPr>
          </a:p>
        </p:txBody>
      </p:sp>
      <p:sp>
        <p:nvSpPr>
          <p:cNvPr id="21" name="MH_Other_3"/>
          <p:cNvSpPr/>
          <p:nvPr>
            <p:custDataLst>
              <p:tags r:id="rId4"/>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Yu Gothic UI Semibold" panose="020B0700000000000000" charset="-128"/>
              <a:ea typeface="Yu Gothic UI Semibold" panose="020B0700000000000000" charset="-128"/>
            </a:endParaRPr>
          </a:p>
        </p:txBody>
      </p:sp>
      <p:sp>
        <p:nvSpPr>
          <p:cNvPr id="22" name="MH_Other_4"/>
          <p:cNvSpPr/>
          <p:nvPr>
            <p:custDataLst>
              <p:tags r:id="rId5"/>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Yu Gothic UI Semibold" panose="020B0700000000000000" charset="-128"/>
              <a:ea typeface="Yu Gothic UI Semibold" panose="020B0700000000000000" charset="-128"/>
            </a:endParaRPr>
          </a:p>
        </p:txBody>
      </p:sp>
      <p:sp>
        <p:nvSpPr>
          <p:cNvPr id="4" name="标题 3"/>
          <p:cNvSpPr>
            <a:spLocks noGrp="1"/>
          </p:cNvSpPr>
          <p:nvPr>
            <p:ph type="title"/>
          </p:nvPr>
        </p:nvSpPr>
        <p:spPr>
          <a:xfrm>
            <a:off x="580390" y="223871"/>
            <a:ext cx="11239500" cy="968375"/>
          </a:xfrm>
        </p:spPr>
        <p:txBody>
          <a:bodyPr/>
          <a:lstStyle/>
          <a:p>
            <a:r>
              <a:rPr lang="zh-CN" altLang="en-US" dirty="0"/>
              <a:t>管理界面本地化</a:t>
            </a:r>
            <a:r>
              <a:rPr lang="en-US" altLang="zh-CN" dirty="0"/>
              <a:t>:</a:t>
            </a:r>
            <a:endParaRPr lang="en-US" altLang="zh-CN" dirty="0"/>
          </a:p>
        </p:txBody>
      </p:sp>
      <p:sp>
        <p:nvSpPr>
          <p:cNvPr id="3" name="文本框 2"/>
          <p:cNvSpPr txBox="1"/>
          <p:nvPr/>
        </p:nvSpPr>
        <p:spPr>
          <a:xfrm>
            <a:off x="2404745" y="1297305"/>
            <a:ext cx="4418330" cy="337185"/>
          </a:xfrm>
          <a:prstGeom prst="rect">
            <a:avLst/>
          </a:prstGeom>
          <a:solidFill>
            <a:srgbClr val="E5AB74"/>
          </a:solidFill>
        </p:spPr>
        <p:txBody>
          <a:bodyPr wrap="square" rtlCol="0" anchor="t">
            <a:spAutoFit/>
          </a:bodyPr>
          <a:lstStyle/>
          <a:p>
            <a:r>
              <a:rPr lang="en-US" altLang="zh-CN" sz="1600">
                <a:latin typeface="微软雅黑" panose="020B0503020204020204" pitchFamily="34" charset="-122"/>
                <a:ea typeface="微软雅黑" panose="020B0503020204020204" pitchFamily="34" charset="-122"/>
                <a:cs typeface="微软雅黑" panose="020B0503020204020204" pitchFamily="34" charset="-122"/>
              </a:rPr>
              <a:t>编辑settings.py文件，设置编码、时区</a:t>
            </a:r>
            <a:endParaRPr lang="en-US" altLang="zh-CN" sz="1600">
              <a:latin typeface="微软雅黑" panose="020B0503020204020204" pitchFamily="34" charset="-122"/>
              <a:ea typeface="微软雅黑" panose="020B0503020204020204" pitchFamily="34" charset="-122"/>
              <a:cs typeface="微软雅黑" panose="020B0503020204020204" pitchFamily="34" charset="-122"/>
            </a:endParaRPr>
          </a:p>
        </p:txBody>
      </p:sp>
      <p:pic>
        <p:nvPicPr>
          <p:cNvPr id="2" name="图片 1"/>
          <p:cNvPicPr>
            <a:picLocks noChangeAspect="1"/>
          </p:cNvPicPr>
          <p:nvPr/>
        </p:nvPicPr>
        <p:blipFill>
          <a:blip r:embed="rId6"/>
          <a:stretch>
            <a:fillRect/>
          </a:stretch>
        </p:blipFill>
        <p:spPr>
          <a:xfrm>
            <a:off x="2404745" y="1634490"/>
            <a:ext cx="4418965" cy="1095375"/>
          </a:xfrm>
          <a:prstGeom prst="rect">
            <a:avLst/>
          </a:prstGeom>
        </p:spPr>
      </p:pic>
      <p:pic>
        <p:nvPicPr>
          <p:cNvPr id="5" name="图片 4"/>
          <p:cNvPicPr>
            <a:picLocks noChangeAspect="1"/>
          </p:cNvPicPr>
          <p:nvPr/>
        </p:nvPicPr>
        <p:blipFill>
          <a:blip r:embed="rId7"/>
          <a:stretch>
            <a:fillRect/>
          </a:stretch>
        </p:blipFill>
        <p:spPr>
          <a:xfrm>
            <a:off x="2404745" y="2775585"/>
            <a:ext cx="6598920" cy="3580765"/>
          </a:xfrm>
          <a:prstGeom prst="rect">
            <a:avLst/>
          </a:prstGeom>
        </p:spPr>
      </p:pic>
    </p:spTree>
    <p:custDataLst>
      <p:tags r:id="rId8"/>
    </p:custDataLst>
  </p:cSld>
  <p:clrMapOvr>
    <a:masterClrMapping/>
  </p:clrMapOvr>
  <p:transition spd="slow" advClick="0" advTm="3000">
    <p:randomBar dir="vert"/>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MH_Title_1"/>
          <p:cNvSpPr/>
          <p:nvPr>
            <p:custDataLst>
              <p:tags r:id="rId1"/>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25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2"/>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Yu Gothic UI Semibold" panose="020B0700000000000000" charset="-128"/>
              <a:ea typeface="Yu Gothic UI Semibold" panose="020B0700000000000000" charset="-128"/>
            </a:endParaRPr>
          </a:p>
        </p:txBody>
      </p:sp>
      <p:sp>
        <p:nvSpPr>
          <p:cNvPr id="20" name="MH_Other_2"/>
          <p:cNvSpPr/>
          <p:nvPr>
            <p:custDataLst>
              <p:tags r:id="rId3"/>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Yu Gothic UI Semibold" panose="020B0700000000000000" charset="-128"/>
              <a:ea typeface="Yu Gothic UI Semibold" panose="020B0700000000000000" charset="-128"/>
            </a:endParaRPr>
          </a:p>
        </p:txBody>
      </p:sp>
      <p:sp>
        <p:nvSpPr>
          <p:cNvPr id="21" name="MH_Other_3"/>
          <p:cNvSpPr/>
          <p:nvPr>
            <p:custDataLst>
              <p:tags r:id="rId4"/>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Yu Gothic UI Semibold" panose="020B0700000000000000" charset="-128"/>
              <a:ea typeface="Yu Gothic UI Semibold" panose="020B0700000000000000" charset="-128"/>
            </a:endParaRPr>
          </a:p>
        </p:txBody>
      </p:sp>
      <p:sp>
        <p:nvSpPr>
          <p:cNvPr id="22" name="MH_Other_4"/>
          <p:cNvSpPr/>
          <p:nvPr>
            <p:custDataLst>
              <p:tags r:id="rId5"/>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Yu Gothic UI Semibold" panose="020B0700000000000000" charset="-128"/>
              <a:ea typeface="Yu Gothic UI Semibold" panose="020B0700000000000000" charset="-128"/>
            </a:endParaRPr>
          </a:p>
        </p:txBody>
      </p:sp>
      <p:sp>
        <p:nvSpPr>
          <p:cNvPr id="4" name="标题 3"/>
          <p:cNvSpPr>
            <a:spLocks noGrp="1"/>
          </p:cNvSpPr>
          <p:nvPr>
            <p:ph type="title"/>
          </p:nvPr>
        </p:nvSpPr>
        <p:spPr>
          <a:xfrm>
            <a:off x="580390" y="223871"/>
            <a:ext cx="11239500" cy="968375"/>
          </a:xfrm>
        </p:spPr>
        <p:txBody>
          <a:bodyPr/>
          <a:lstStyle/>
          <a:p>
            <a:r>
              <a:rPr lang="zh-CN" altLang="en-US" dirty="0"/>
              <a:t>向</a:t>
            </a:r>
            <a:r>
              <a:rPr lang="en-US" altLang="zh-CN" dirty="0"/>
              <a:t>admin</a:t>
            </a:r>
            <a:r>
              <a:rPr lang="zh-CN" altLang="en-US" dirty="0"/>
              <a:t>中注册模型</a:t>
            </a:r>
            <a:r>
              <a:rPr lang="en-US" altLang="zh-CN" dirty="0"/>
              <a:t>:</a:t>
            </a:r>
            <a:endParaRPr lang="en-US" altLang="zh-CN" dirty="0"/>
          </a:p>
        </p:txBody>
      </p:sp>
      <p:sp>
        <p:nvSpPr>
          <p:cNvPr id="3" name="文本框 2"/>
          <p:cNvSpPr txBox="1"/>
          <p:nvPr/>
        </p:nvSpPr>
        <p:spPr>
          <a:xfrm>
            <a:off x="1852295" y="1323975"/>
            <a:ext cx="6261100" cy="829945"/>
          </a:xfrm>
          <a:prstGeom prst="rect">
            <a:avLst/>
          </a:prstGeom>
          <a:solidFill>
            <a:srgbClr val="E5AB74"/>
          </a:solidFill>
        </p:spPr>
        <p:txBody>
          <a:bodyPr wrap="square" rtlCol="0" anchor="t">
            <a:spAutoFit/>
          </a:bodyPr>
          <a:lstStyle/>
          <a:p>
            <a:r>
              <a:rPr lang="zh-CN" altLang="en-US" sz="1600">
                <a:latin typeface="微软雅黑" panose="020B0503020204020204" pitchFamily="34" charset="-122"/>
                <a:ea typeface="微软雅黑" panose="020B0503020204020204" pitchFamily="34" charset="-122"/>
                <a:cs typeface="微软雅黑" panose="020B0503020204020204" pitchFamily="34" charset="-122"/>
              </a:rPr>
              <a:t>将之前在表关系中那几个模型类创建在现在的</a:t>
            </a:r>
            <a:r>
              <a:rPr lang="en-US" altLang="zh-CN" sz="1600">
                <a:latin typeface="微软雅黑" panose="020B0503020204020204" pitchFamily="34" charset="-122"/>
                <a:ea typeface="微软雅黑" panose="020B0503020204020204" pitchFamily="34" charset="-122"/>
                <a:cs typeface="微软雅黑" panose="020B0503020204020204" pitchFamily="34" charset="-122"/>
              </a:rPr>
              <a:t>app</a:t>
            </a:r>
            <a:r>
              <a:rPr lang="zh-CN" altLang="en-US" sz="1600">
                <a:latin typeface="微软雅黑" panose="020B0503020204020204" pitchFamily="34" charset="-122"/>
                <a:ea typeface="微软雅黑" panose="020B0503020204020204" pitchFamily="34" charset="-122"/>
                <a:cs typeface="微软雅黑" panose="020B0503020204020204" pitchFamily="34" charset="-122"/>
              </a:rPr>
              <a:t>的</a:t>
            </a:r>
            <a:r>
              <a:rPr lang="en-US" altLang="zh-CN" sz="1600">
                <a:latin typeface="微软雅黑" panose="020B0503020204020204" pitchFamily="34" charset="-122"/>
                <a:ea typeface="微软雅黑" panose="020B0503020204020204" pitchFamily="34" charset="-122"/>
                <a:cs typeface="微软雅黑" panose="020B0503020204020204" pitchFamily="34" charset="-122"/>
              </a:rPr>
              <a:t>models.py</a:t>
            </a:r>
            <a:r>
              <a:rPr lang="zh-CN" altLang="en-US" sz="1600">
                <a:latin typeface="微软雅黑" panose="020B0503020204020204" pitchFamily="34" charset="-122"/>
                <a:ea typeface="微软雅黑" panose="020B0503020204020204" pitchFamily="34" charset="-122"/>
                <a:cs typeface="微软雅黑" panose="020B0503020204020204" pitchFamily="34" charset="-122"/>
              </a:rPr>
              <a:t>中</a:t>
            </a:r>
            <a:r>
              <a:rPr lang="en-US" altLang="zh-CN" sz="1600">
                <a:latin typeface="微软雅黑" panose="020B0503020204020204" pitchFamily="34" charset="-122"/>
                <a:ea typeface="微软雅黑" panose="020B0503020204020204" pitchFamily="34" charset="-122"/>
                <a:cs typeface="微软雅黑" panose="020B0503020204020204" pitchFamily="34" charset="-122"/>
              </a:rPr>
              <a:t>.</a:t>
            </a:r>
            <a:endParaRPr lang="zh-CN" altLang="en-US" sz="1600">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sz="1600">
                <a:latin typeface="微软雅黑" panose="020B0503020204020204" pitchFamily="34" charset="-122"/>
                <a:ea typeface="微软雅黑" panose="020B0503020204020204" pitchFamily="34" charset="-122"/>
                <a:cs typeface="微软雅黑" panose="020B0503020204020204" pitchFamily="34" charset="-122"/>
              </a:rPr>
              <a:t>将模型类执行映射在数据库中生成表</a:t>
            </a:r>
            <a:r>
              <a:rPr lang="en-US" altLang="zh-CN" sz="160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1600">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sz="1600">
                <a:latin typeface="微软雅黑" panose="020B0503020204020204" pitchFamily="34" charset="-122"/>
                <a:ea typeface="微软雅黑" panose="020B0503020204020204" pitchFamily="34" charset="-122"/>
                <a:cs typeface="微软雅黑" panose="020B0503020204020204" pitchFamily="34" charset="-122"/>
              </a:rPr>
              <a:t>在</a:t>
            </a:r>
            <a:r>
              <a:rPr lang="en-US" altLang="zh-CN" sz="1600">
                <a:latin typeface="微软雅黑" panose="020B0503020204020204" pitchFamily="34" charset="-122"/>
                <a:ea typeface="微软雅黑" panose="020B0503020204020204" pitchFamily="34" charset="-122"/>
                <a:cs typeface="微软雅黑" panose="020B0503020204020204" pitchFamily="34" charset="-122"/>
              </a:rPr>
              <a:t>app</a:t>
            </a:r>
            <a:r>
              <a:rPr lang="zh-CN" altLang="en-US" sz="1600">
                <a:latin typeface="微软雅黑" panose="020B0503020204020204" pitchFamily="34" charset="-122"/>
                <a:ea typeface="微软雅黑" panose="020B0503020204020204" pitchFamily="34" charset="-122"/>
                <a:cs typeface="微软雅黑" panose="020B0503020204020204" pitchFamily="34" charset="-122"/>
              </a:rPr>
              <a:t>里面有个</a:t>
            </a:r>
            <a:r>
              <a:rPr lang="en-US" altLang="zh-CN" sz="1600">
                <a:latin typeface="微软雅黑" panose="020B0503020204020204" pitchFamily="34" charset="-122"/>
                <a:ea typeface="微软雅黑" panose="020B0503020204020204" pitchFamily="34" charset="-122"/>
                <a:cs typeface="微软雅黑" panose="020B0503020204020204" pitchFamily="34" charset="-122"/>
              </a:rPr>
              <a:t>admin.py</a:t>
            </a:r>
            <a:r>
              <a:rPr lang="zh-CN" altLang="en-US" sz="1600">
                <a:latin typeface="微软雅黑" panose="020B0503020204020204" pitchFamily="34" charset="-122"/>
                <a:ea typeface="微软雅黑" panose="020B0503020204020204" pitchFamily="34" charset="-122"/>
                <a:cs typeface="微软雅黑" panose="020B0503020204020204" pitchFamily="34" charset="-122"/>
              </a:rPr>
              <a:t>的文件</a:t>
            </a:r>
            <a:r>
              <a:rPr lang="en-US" altLang="zh-CN" sz="160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600">
                <a:latin typeface="微软雅黑" panose="020B0503020204020204" pitchFamily="34" charset="-122"/>
                <a:ea typeface="微软雅黑" panose="020B0503020204020204" pitchFamily="34" charset="-122"/>
                <a:cs typeface="微软雅黑" panose="020B0503020204020204" pitchFamily="34" charset="-122"/>
              </a:rPr>
              <a:t>在这个文件中注册模型</a:t>
            </a:r>
            <a:r>
              <a:rPr lang="en-US" altLang="zh-CN" sz="160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1600">
              <a:latin typeface="微软雅黑" panose="020B0503020204020204" pitchFamily="34" charset="-122"/>
              <a:ea typeface="微软雅黑" panose="020B0503020204020204" pitchFamily="34" charset="-122"/>
              <a:cs typeface="微软雅黑" panose="020B0503020204020204" pitchFamily="34" charset="-122"/>
            </a:endParaRPr>
          </a:p>
        </p:txBody>
      </p:sp>
      <p:pic>
        <p:nvPicPr>
          <p:cNvPr id="2" name="图片 1"/>
          <p:cNvPicPr>
            <a:picLocks noChangeAspect="1"/>
          </p:cNvPicPr>
          <p:nvPr/>
        </p:nvPicPr>
        <p:blipFill>
          <a:blip r:embed="rId6"/>
          <a:stretch>
            <a:fillRect/>
          </a:stretch>
        </p:blipFill>
        <p:spPr>
          <a:xfrm>
            <a:off x="1852295" y="2428240"/>
            <a:ext cx="6885940" cy="3133090"/>
          </a:xfrm>
          <a:prstGeom prst="rect">
            <a:avLst/>
          </a:prstGeom>
        </p:spPr>
      </p:pic>
    </p:spTree>
    <p:custDataLst>
      <p:tags r:id="rId7"/>
    </p:custDataLst>
  </p:cSld>
  <p:clrMapOvr>
    <a:masterClrMapping/>
  </p:clrMapOvr>
  <p:transition spd="slow" advClick="0" advTm="3000">
    <p:randomBar dir="vert"/>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MH_Title_1"/>
          <p:cNvSpPr/>
          <p:nvPr>
            <p:custDataLst>
              <p:tags r:id="rId1"/>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25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2"/>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Yu Gothic UI Semibold" panose="020B0700000000000000" charset="-128"/>
              <a:ea typeface="Yu Gothic UI Semibold" panose="020B0700000000000000" charset="-128"/>
            </a:endParaRPr>
          </a:p>
        </p:txBody>
      </p:sp>
      <p:sp>
        <p:nvSpPr>
          <p:cNvPr id="20" name="MH_Other_2"/>
          <p:cNvSpPr/>
          <p:nvPr>
            <p:custDataLst>
              <p:tags r:id="rId3"/>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Yu Gothic UI Semibold" panose="020B0700000000000000" charset="-128"/>
              <a:ea typeface="Yu Gothic UI Semibold" panose="020B0700000000000000" charset="-128"/>
            </a:endParaRPr>
          </a:p>
        </p:txBody>
      </p:sp>
      <p:sp>
        <p:nvSpPr>
          <p:cNvPr id="21" name="MH_Other_3"/>
          <p:cNvSpPr/>
          <p:nvPr>
            <p:custDataLst>
              <p:tags r:id="rId4"/>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Yu Gothic UI Semibold" panose="020B0700000000000000" charset="-128"/>
              <a:ea typeface="Yu Gothic UI Semibold" panose="020B0700000000000000" charset="-128"/>
            </a:endParaRPr>
          </a:p>
        </p:txBody>
      </p:sp>
      <p:sp>
        <p:nvSpPr>
          <p:cNvPr id="22" name="MH_Other_4"/>
          <p:cNvSpPr/>
          <p:nvPr>
            <p:custDataLst>
              <p:tags r:id="rId5"/>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Yu Gothic UI Semibold" panose="020B0700000000000000" charset="-128"/>
              <a:ea typeface="Yu Gothic UI Semibold" panose="020B0700000000000000" charset="-128"/>
            </a:endParaRPr>
          </a:p>
        </p:txBody>
      </p:sp>
      <p:sp>
        <p:nvSpPr>
          <p:cNvPr id="4" name="标题 3"/>
          <p:cNvSpPr>
            <a:spLocks noGrp="1"/>
          </p:cNvSpPr>
          <p:nvPr>
            <p:ph type="title"/>
          </p:nvPr>
        </p:nvSpPr>
        <p:spPr>
          <a:xfrm>
            <a:off x="580390" y="223871"/>
            <a:ext cx="11239500" cy="968375"/>
          </a:xfrm>
        </p:spPr>
        <p:txBody>
          <a:bodyPr/>
          <a:lstStyle/>
          <a:p>
            <a:r>
              <a:rPr lang="en-US" altLang="zh-CN" dirty="0"/>
              <a:t>admin</a:t>
            </a:r>
            <a:r>
              <a:rPr lang="zh-CN" altLang="en-US" dirty="0"/>
              <a:t>后台页面显示</a:t>
            </a:r>
            <a:r>
              <a:rPr lang="en-US" altLang="zh-CN" dirty="0"/>
              <a:t>:</a:t>
            </a:r>
            <a:endParaRPr lang="en-US" altLang="zh-CN" dirty="0"/>
          </a:p>
        </p:txBody>
      </p:sp>
      <p:pic>
        <p:nvPicPr>
          <p:cNvPr id="2" name="图片 1"/>
          <p:cNvPicPr>
            <a:picLocks noChangeAspect="1"/>
          </p:cNvPicPr>
          <p:nvPr/>
        </p:nvPicPr>
        <p:blipFill>
          <a:blip r:embed="rId6"/>
          <a:stretch>
            <a:fillRect/>
          </a:stretch>
        </p:blipFill>
        <p:spPr>
          <a:xfrm>
            <a:off x="1933575" y="1801495"/>
            <a:ext cx="6395085" cy="4450080"/>
          </a:xfrm>
          <a:prstGeom prst="rect">
            <a:avLst/>
          </a:prstGeom>
        </p:spPr>
      </p:pic>
      <p:sp>
        <p:nvSpPr>
          <p:cNvPr id="3" name="文本框 2"/>
          <p:cNvSpPr txBox="1"/>
          <p:nvPr/>
        </p:nvSpPr>
        <p:spPr>
          <a:xfrm>
            <a:off x="1933575" y="1217930"/>
            <a:ext cx="6261100" cy="583565"/>
          </a:xfrm>
          <a:prstGeom prst="rect">
            <a:avLst/>
          </a:prstGeom>
          <a:solidFill>
            <a:srgbClr val="E5AB74"/>
          </a:solidFill>
        </p:spPr>
        <p:txBody>
          <a:bodyPr wrap="square" rtlCol="0" anchor="t">
            <a:spAutoFit/>
          </a:bodyPr>
          <a:lstStyle/>
          <a:p>
            <a:r>
              <a:rPr lang="zh-CN" altLang="en-US" sz="1600">
                <a:latin typeface="微软雅黑" panose="020B0503020204020204" pitchFamily="34" charset="-122"/>
                <a:ea typeface="微软雅黑" panose="020B0503020204020204" pitchFamily="34" charset="-122"/>
                <a:cs typeface="微软雅黑" panose="020B0503020204020204" pitchFamily="34" charset="-122"/>
              </a:rPr>
              <a:t>将模型类再</a:t>
            </a:r>
            <a:r>
              <a:rPr lang="en-US" altLang="zh-CN" sz="1600">
                <a:latin typeface="微软雅黑" panose="020B0503020204020204" pitchFamily="34" charset="-122"/>
                <a:ea typeface="微软雅黑" panose="020B0503020204020204" pitchFamily="34" charset="-122"/>
                <a:cs typeface="微软雅黑" panose="020B0503020204020204" pitchFamily="34" charset="-122"/>
              </a:rPr>
              <a:t>admin.py</a:t>
            </a:r>
            <a:r>
              <a:rPr lang="zh-CN" altLang="en-US" sz="1600">
                <a:latin typeface="微软雅黑" panose="020B0503020204020204" pitchFamily="34" charset="-122"/>
                <a:ea typeface="微软雅黑" panose="020B0503020204020204" pitchFamily="34" charset="-122"/>
                <a:cs typeface="微软雅黑" panose="020B0503020204020204" pitchFamily="34" charset="-122"/>
              </a:rPr>
              <a:t>中注册过后</a:t>
            </a:r>
            <a:endParaRPr lang="zh-CN" altLang="en-US" sz="1600">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sz="1600">
                <a:latin typeface="微软雅黑" panose="020B0503020204020204" pitchFamily="34" charset="-122"/>
                <a:ea typeface="微软雅黑" panose="020B0503020204020204" pitchFamily="34" charset="-122"/>
                <a:cs typeface="微软雅黑" panose="020B0503020204020204" pitchFamily="34" charset="-122"/>
              </a:rPr>
              <a:t>刷新管理页面</a:t>
            </a:r>
            <a:r>
              <a:rPr lang="en-US" altLang="zh-CN" sz="160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600">
                <a:latin typeface="微软雅黑" panose="020B0503020204020204" pitchFamily="34" charset="-122"/>
                <a:ea typeface="微软雅黑" panose="020B0503020204020204" pitchFamily="34" charset="-122"/>
                <a:cs typeface="微软雅黑" panose="020B0503020204020204" pitchFamily="34" charset="-122"/>
              </a:rPr>
              <a:t>对数据表中数据进行增删改查操作</a:t>
            </a:r>
            <a:endParaRPr lang="zh-CN" altLang="en-US" sz="1600">
              <a:latin typeface="微软雅黑" panose="020B0503020204020204" pitchFamily="34" charset="-122"/>
              <a:ea typeface="微软雅黑" panose="020B0503020204020204" pitchFamily="34" charset="-122"/>
              <a:cs typeface="微软雅黑" panose="020B0503020204020204" pitchFamily="34" charset="-122"/>
            </a:endParaRPr>
          </a:p>
        </p:txBody>
      </p:sp>
    </p:spTree>
    <p:custDataLst>
      <p:tags r:id="rId7"/>
    </p:custDataLst>
  </p:cSld>
  <p:clrMapOvr>
    <a:masterClrMapping/>
  </p:clrMapOvr>
  <p:transition spd="slow" advClick="0" advTm="3000">
    <p:randomBar dir="vert"/>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MH_Title_1"/>
          <p:cNvSpPr/>
          <p:nvPr>
            <p:custDataLst>
              <p:tags r:id="rId1"/>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25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2"/>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Yu Gothic UI Semibold" panose="020B0700000000000000" charset="-128"/>
              <a:ea typeface="Yu Gothic UI Semibold" panose="020B0700000000000000" charset="-128"/>
            </a:endParaRPr>
          </a:p>
        </p:txBody>
      </p:sp>
      <p:sp>
        <p:nvSpPr>
          <p:cNvPr id="20" name="MH_Other_2"/>
          <p:cNvSpPr/>
          <p:nvPr>
            <p:custDataLst>
              <p:tags r:id="rId3"/>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Yu Gothic UI Semibold" panose="020B0700000000000000" charset="-128"/>
              <a:ea typeface="Yu Gothic UI Semibold" panose="020B0700000000000000" charset="-128"/>
            </a:endParaRPr>
          </a:p>
        </p:txBody>
      </p:sp>
      <p:sp>
        <p:nvSpPr>
          <p:cNvPr id="21" name="MH_Other_3"/>
          <p:cNvSpPr/>
          <p:nvPr>
            <p:custDataLst>
              <p:tags r:id="rId4"/>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Yu Gothic UI Semibold" panose="020B0700000000000000" charset="-128"/>
              <a:ea typeface="Yu Gothic UI Semibold" panose="020B0700000000000000" charset="-128"/>
            </a:endParaRPr>
          </a:p>
        </p:txBody>
      </p:sp>
      <p:sp>
        <p:nvSpPr>
          <p:cNvPr id="22" name="MH_Other_4"/>
          <p:cNvSpPr/>
          <p:nvPr>
            <p:custDataLst>
              <p:tags r:id="rId5"/>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Yu Gothic UI Semibold" panose="020B0700000000000000" charset="-128"/>
              <a:ea typeface="Yu Gothic UI Semibold" panose="020B0700000000000000" charset="-128"/>
            </a:endParaRPr>
          </a:p>
        </p:txBody>
      </p:sp>
      <p:sp>
        <p:nvSpPr>
          <p:cNvPr id="4" name="标题 3"/>
          <p:cNvSpPr>
            <a:spLocks noGrp="1"/>
          </p:cNvSpPr>
          <p:nvPr>
            <p:ph type="title"/>
          </p:nvPr>
        </p:nvSpPr>
        <p:spPr>
          <a:xfrm>
            <a:off x="580390" y="223871"/>
            <a:ext cx="11239500" cy="968375"/>
          </a:xfrm>
        </p:spPr>
        <p:txBody>
          <a:bodyPr/>
          <a:lstStyle/>
          <a:p>
            <a:r>
              <a:rPr lang="en-US" altLang="zh-CN" dirty="0"/>
              <a:t>admin</a:t>
            </a:r>
            <a:r>
              <a:rPr lang="zh-CN" altLang="en-US" dirty="0"/>
              <a:t>后台操作</a:t>
            </a:r>
            <a:r>
              <a:rPr lang="en-US" altLang="zh-CN" dirty="0"/>
              <a:t>:</a:t>
            </a:r>
            <a:endParaRPr lang="en-US" altLang="zh-CN" dirty="0"/>
          </a:p>
        </p:txBody>
      </p:sp>
      <p:sp>
        <p:nvSpPr>
          <p:cNvPr id="3" name="文本框 2"/>
          <p:cNvSpPr txBox="1"/>
          <p:nvPr/>
        </p:nvSpPr>
        <p:spPr>
          <a:xfrm>
            <a:off x="1933575" y="1192530"/>
            <a:ext cx="6261100" cy="583565"/>
          </a:xfrm>
          <a:prstGeom prst="rect">
            <a:avLst/>
          </a:prstGeom>
          <a:solidFill>
            <a:srgbClr val="E5AB74"/>
          </a:solidFill>
        </p:spPr>
        <p:txBody>
          <a:bodyPr wrap="square" rtlCol="0" anchor="t">
            <a:spAutoFit/>
          </a:bodyPr>
          <a:lstStyle/>
          <a:p>
            <a:r>
              <a:rPr lang="zh-CN" altLang="en-US" sz="1600">
                <a:latin typeface="微软雅黑" panose="020B0503020204020204" pitchFamily="34" charset="-122"/>
                <a:ea typeface="微软雅黑" panose="020B0503020204020204" pitchFamily="34" charset="-122"/>
                <a:cs typeface="微软雅黑" panose="020B0503020204020204" pitchFamily="34" charset="-122"/>
              </a:rPr>
              <a:t>对数据表中数据进行增删改查操作</a:t>
            </a:r>
            <a:r>
              <a:rPr lang="en-US" altLang="zh-CN" sz="160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1600">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sz="1600">
                <a:latin typeface="微软雅黑" panose="020B0503020204020204" pitchFamily="34" charset="-122"/>
                <a:ea typeface="微软雅黑" panose="020B0503020204020204" pitchFamily="34" charset="-122"/>
                <a:cs typeface="微软雅黑" panose="020B0503020204020204" pitchFamily="34" charset="-122"/>
              </a:rPr>
              <a:t>下图是增加学生信息表中的数据</a:t>
            </a:r>
            <a:endParaRPr lang="zh-CN" altLang="en-US" sz="1600">
              <a:latin typeface="微软雅黑" panose="020B0503020204020204" pitchFamily="34" charset="-122"/>
              <a:ea typeface="微软雅黑" panose="020B0503020204020204" pitchFamily="34" charset="-122"/>
              <a:cs typeface="微软雅黑" panose="020B0503020204020204" pitchFamily="34" charset="-122"/>
            </a:endParaRPr>
          </a:p>
        </p:txBody>
      </p:sp>
      <p:pic>
        <p:nvPicPr>
          <p:cNvPr id="6" name="图片 5"/>
          <p:cNvPicPr>
            <a:picLocks noChangeAspect="1"/>
          </p:cNvPicPr>
          <p:nvPr/>
        </p:nvPicPr>
        <p:blipFill>
          <a:blip r:embed="rId6"/>
          <a:stretch>
            <a:fillRect/>
          </a:stretch>
        </p:blipFill>
        <p:spPr>
          <a:xfrm>
            <a:off x="1933575" y="1776095"/>
            <a:ext cx="7183755" cy="3860165"/>
          </a:xfrm>
          <a:prstGeom prst="rect">
            <a:avLst/>
          </a:prstGeom>
        </p:spPr>
      </p:pic>
    </p:spTree>
    <p:custDataLst>
      <p:tags r:id="rId7"/>
    </p:custDataLst>
  </p:cSld>
  <p:clrMapOvr>
    <a:masterClrMapping/>
  </p:clrMapOvr>
  <p:transition spd="slow" advClick="0" advTm="3000">
    <p:randomBar dir="vert"/>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MH_Title_1"/>
          <p:cNvSpPr/>
          <p:nvPr>
            <p:custDataLst>
              <p:tags r:id="rId1"/>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25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2"/>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Yu Gothic UI Semibold" panose="020B0700000000000000" charset="-128"/>
              <a:ea typeface="Yu Gothic UI Semibold" panose="020B0700000000000000" charset="-128"/>
            </a:endParaRPr>
          </a:p>
        </p:txBody>
      </p:sp>
      <p:sp>
        <p:nvSpPr>
          <p:cNvPr id="20" name="MH_Other_2"/>
          <p:cNvSpPr/>
          <p:nvPr>
            <p:custDataLst>
              <p:tags r:id="rId3"/>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Yu Gothic UI Semibold" panose="020B0700000000000000" charset="-128"/>
              <a:ea typeface="Yu Gothic UI Semibold" panose="020B0700000000000000" charset="-128"/>
            </a:endParaRPr>
          </a:p>
        </p:txBody>
      </p:sp>
      <p:sp>
        <p:nvSpPr>
          <p:cNvPr id="21" name="MH_Other_3"/>
          <p:cNvSpPr/>
          <p:nvPr>
            <p:custDataLst>
              <p:tags r:id="rId4"/>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Yu Gothic UI Semibold" panose="020B0700000000000000" charset="-128"/>
              <a:ea typeface="Yu Gothic UI Semibold" panose="020B0700000000000000" charset="-128"/>
            </a:endParaRPr>
          </a:p>
        </p:txBody>
      </p:sp>
      <p:sp>
        <p:nvSpPr>
          <p:cNvPr id="22" name="MH_Other_4"/>
          <p:cNvSpPr/>
          <p:nvPr>
            <p:custDataLst>
              <p:tags r:id="rId5"/>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Yu Gothic UI Semibold" panose="020B0700000000000000" charset="-128"/>
              <a:ea typeface="Yu Gothic UI Semibold" panose="020B0700000000000000" charset="-128"/>
            </a:endParaRPr>
          </a:p>
        </p:txBody>
      </p:sp>
      <p:sp>
        <p:nvSpPr>
          <p:cNvPr id="4" name="标题 3"/>
          <p:cNvSpPr>
            <a:spLocks noGrp="1"/>
          </p:cNvSpPr>
          <p:nvPr>
            <p:ph type="title"/>
          </p:nvPr>
        </p:nvSpPr>
        <p:spPr>
          <a:xfrm>
            <a:off x="476250" y="249271"/>
            <a:ext cx="11239500" cy="968375"/>
          </a:xfrm>
        </p:spPr>
        <p:txBody>
          <a:bodyPr/>
          <a:lstStyle/>
          <a:p>
            <a:r>
              <a:rPr lang="zh-CN" altLang="en-US" dirty="0"/>
              <a:t>自定义管理页面</a:t>
            </a:r>
            <a:r>
              <a:rPr lang="en-US" altLang="zh-CN" dirty="0"/>
              <a:t>:</a:t>
            </a:r>
            <a:endParaRPr lang="en-US" altLang="zh-CN" dirty="0"/>
          </a:p>
        </p:txBody>
      </p:sp>
      <p:sp>
        <p:nvSpPr>
          <p:cNvPr id="3" name="文本框 2"/>
          <p:cNvSpPr txBox="1"/>
          <p:nvPr/>
        </p:nvSpPr>
        <p:spPr>
          <a:xfrm>
            <a:off x="2025650" y="1217930"/>
            <a:ext cx="7248525" cy="829945"/>
          </a:xfrm>
          <a:prstGeom prst="rect">
            <a:avLst/>
          </a:prstGeom>
          <a:solidFill>
            <a:srgbClr val="E5AB74"/>
          </a:solidFill>
        </p:spPr>
        <p:txBody>
          <a:bodyPr wrap="square" rtlCol="0" anchor="t">
            <a:spAutoFit/>
          </a:bodyPr>
          <a:lstStyle/>
          <a:p>
            <a:r>
              <a:rPr sz="1600">
                <a:latin typeface="微软雅黑" panose="020B0503020204020204" pitchFamily="34" charset="-122"/>
                <a:ea typeface="微软雅黑" panose="020B0503020204020204" pitchFamily="34" charset="-122"/>
                <a:cs typeface="微软雅黑" panose="020B0503020204020204" pitchFamily="34" charset="-122"/>
              </a:rPr>
              <a:t>Django提供了admin.ModelAdmin类</a:t>
            </a:r>
            <a:endParaRPr sz="1600">
              <a:latin typeface="微软雅黑" panose="020B0503020204020204" pitchFamily="34" charset="-122"/>
              <a:ea typeface="微软雅黑" panose="020B0503020204020204" pitchFamily="34" charset="-122"/>
              <a:cs typeface="微软雅黑" panose="020B0503020204020204" pitchFamily="34" charset="-122"/>
            </a:endParaRPr>
          </a:p>
          <a:p>
            <a:endParaRPr sz="1600">
              <a:latin typeface="微软雅黑" panose="020B0503020204020204" pitchFamily="34" charset="-122"/>
              <a:ea typeface="微软雅黑" panose="020B0503020204020204" pitchFamily="34" charset="-122"/>
              <a:cs typeface="微软雅黑" panose="020B0503020204020204" pitchFamily="34" charset="-122"/>
            </a:endParaRPr>
          </a:p>
          <a:p>
            <a:r>
              <a:rPr sz="1600">
                <a:latin typeface="微软雅黑" panose="020B0503020204020204" pitchFamily="34" charset="-122"/>
                <a:ea typeface="微软雅黑" panose="020B0503020204020204" pitchFamily="34" charset="-122"/>
                <a:cs typeface="微软雅黑" panose="020B0503020204020204" pitchFamily="34" charset="-122"/>
              </a:rPr>
              <a:t>通过定义ModelAdmin的子类，来定义模型在Admin界面的显示方式</a:t>
            </a:r>
            <a:endParaRPr sz="160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5" name="文本框 4"/>
          <p:cNvSpPr txBox="1"/>
          <p:nvPr/>
        </p:nvSpPr>
        <p:spPr>
          <a:xfrm>
            <a:off x="2025650" y="2047875"/>
            <a:ext cx="7248525" cy="2306955"/>
          </a:xfrm>
          <a:prstGeom prst="rect">
            <a:avLst/>
          </a:prstGeom>
          <a:solidFill>
            <a:schemeClr val="accent4">
              <a:lumMod val="60000"/>
              <a:lumOff val="40000"/>
            </a:schemeClr>
          </a:solidFill>
        </p:spPr>
        <p:txBody>
          <a:bodyPr wrap="square" rtlCol="0" anchor="t">
            <a:spAutoFit/>
          </a:bodyPr>
          <a:lstStyle/>
          <a:p>
            <a:r>
              <a:rPr sz="1600">
                <a:latin typeface="微软雅黑" panose="020B0503020204020204" pitchFamily="34" charset="-122"/>
                <a:ea typeface="微软雅黑" panose="020B0503020204020204" pitchFamily="34" charset="-122"/>
                <a:cs typeface="微软雅黑" panose="020B0503020204020204" pitchFamily="34" charset="-122"/>
              </a:rPr>
              <a:t>列表页属性</a:t>
            </a:r>
            <a:endParaRPr sz="1600">
              <a:latin typeface="微软雅黑" panose="020B0503020204020204" pitchFamily="34" charset="-122"/>
              <a:ea typeface="微软雅黑" panose="020B0503020204020204" pitchFamily="34" charset="-122"/>
              <a:cs typeface="微软雅黑" panose="020B0503020204020204" pitchFamily="34" charset="-122"/>
            </a:endParaRPr>
          </a:p>
          <a:p>
            <a:endParaRPr sz="1600">
              <a:latin typeface="微软雅黑" panose="020B0503020204020204" pitchFamily="34" charset="-122"/>
              <a:ea typeface="微软雅黑" panose="020B0503020204020204" pitchFamily="34" charset="-122"/>
              <a:cs typeface="微软雅黑" panose="020B0503020204020204" pitchFamily="34" charset="-122"/>
            </a:endParaRPr>
          </a:p>
          <a:p>
            <a:r>
              <a:rPr sz="1600">
                <a:latin typeface="微软雅黑" panose="020B0503020204020204" pitchFamily="34" charset="-122"/>
                <a:ea typeface="微软雅黑" panose="020B0503020204020204" pitchFamily="34" charset="-122"/>
                <a:cs typeface="微软雅黑" panose="020B0503020204020204" pitchFamily="34" charset="-122"/>
              </a:rPr>
              <a:t>list_display：显示字段，可以点击列头进行排序</a:t>
            </a:r>
            <a:endParaRPr sz="1600">
              <a:latin typeface="微软雅黑" panose="020B0503020204020204" pitchFamily="34" charset="-122"/>
              <a:ea typeface="微软雅黑" panose="020B0503020204020204" pitchFamily="34" charset="-122"/>
              <a:cs typeface="微软雅黑" panose="020B0503020204020204" pitchFamily="34" charset="-122"/>
            </a:endParaRPr>
          </a:p>
          <a:p>
            <a:endParaRPr sz="1600">
              <a:latin typeface="微软雅黑" panose="020B0503020204020204" pitchFamily="34" charset="-122"/>
              <a:ea typeface="微软雅黑" panose="020B0503020204020204" pitchFamily="34" charset="-122"/>
              <a:cs typeface="微软雅黑" panose="020B0503020204020204" pitchFamily="34" charset="-122"/>
            </a:endParaRPr>
          </a:p>
          <a:p>
            <a:r>
              <a:rPr sz="1600">
                <a:latin typeface="微软雅黑" panose="020B0503020204020204" pitchFamily="34" charset="-122"/>
                <a:ea typeface="微软雅黑" panose="020B0503020204020204" pitchFamily="34" charset="-122"/>
                <a:cs typeface="微软雅黑" panose="020B0503020204020204" pitchFamily="34" charset="-122"/>
              </a:rPr>
              <a:t>list_filter：过滤字段，过滤框会出现在右侧</a:t>
            </a:r>
            <a:endParaRPr sz="1600">
              <a:latin typeface="微软雅黑" panose="020B0503020204020204" pitchFamily="34" charset="-122"/>
              <a:ea typeface="微软雅黑" panose="020B0503020204020204" pitchFamily="34" charset="-122"/>
              <a:cs typeface="微软雅黑" panose="020B0503020204020204" pitchFamily="34" charset="-122"/>
            </a:endParaRPr>
          </a:p>
          <a:p>
            <a:endParaRPr sz="1600">
              <a:latin typeface="微软雅黑" panose="020B0503020204020204" pitchFamily="34" charset="-122"/>
              <a:ea typeface="微软雅黑" panose="020B0503020204020204" pitchFamily="34" charset="-122"/>
              <a:cs typeface="微软雅黑" panose="020B0503020204020204" pitchFamily="34" charset="-122"/>
            </a:endParaRPr>
          </a:p>
          <a:p>
            <a:r>
              <a:rPr sz="1600">
                <a:latin typeface="微软雅黑" panose="020B0503020204020204" pitchFamily="34" charset="-122"/>
                <a:ea typeface="微软雅黑" panose="020B0503020204020204" pitchFamily="34" charset="-122"/>
                <a:cs typeface="微软雅黑" panose="020B0503020204020204" pitchFamily="34" charset="-122"/>
              </a:rPr>
              <a:t>search_fields：搜索字段，搜索框会出现在上侧</a:t>
            </a:r>
            <a:endParaRPr sz="1600">
              <a:latin typeface="微软雅黑" panose="020B0503020204020204" pitchFamily="34" charset="-122"/>
              <a:ea typeface="微软雅黑" panose="020B0503020204020204" pitchFamily="34" charset="-122"/>
              <a:cs typeface="微软雅黑" panose="020B0503020204020204" pitchFamily="34" charset="-122"/>
            </a:endParaRPr>
          </a:p>
          <a:p>
            <a:endParaRPr sz="1600">
              <a:latin typeface="微软雅黑" panose="020B0503020204020204" pitchFamily="34" charset="-122"/>
              <a:ea typeface="微软雅黑" panose="020B0503020204020204" pitchFamily="34" charset="-122"/>
              <a:cs typeface="微软雅黑" panose="020B0503020204020204" pitchFamily="34" charset="-122"/>
            </a:endParaRPr>
          </a:p>
          <a:p>
            <a:r>
              <a:rPr sz="1600">
                <a:latin typeface="微软雅黑" panose="020B0503020204020204" pitchFamily="34" charset="-122"/>
                <a:ea typeface="微软雅黑" panose="020B0503020204020204" pitchFamily="34" charset="-122"/>
                <a:cs typeface="微软雅黑" panose="020B0503020204020204" pitchFamily="34" charset="-122"/>
              </a:rPr>
              <a:t>list_per_page：分页，分页框会出现在下侧</a:t>
            </a:r>
            <a:endParaRPr sz="160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6" name="文本框 5"/>
          <p:cNvSpPr txBox="1"/>
          <p:nvPr/>
        </p:nvSpPr>
        <p:spPr>
          <a:xfrm>
            <a:off x="2025650" y="4354830"/>
            <a:ext cx="7248525" cy="1814830"/>
          </a:xfrm>
          <a:prstGeom prst="rect">
            <a:avLst/>
          </a:prstGeom>
          <a:solidFill>
            <a:schemeClr val="accent4">
              <a:lumMod val="40000"/>
              <a:lumOff val="60000"/>
            </a:schemeClr>
          </a:solidFill>
        </p:spPr>
        <p:txBody>
          <a:bodyPr wrap="square" rtlCol="0" anchor="t">
            <a:spAutoFit/>
          </a:bodyPr>
          <a:lstStyle/>
          <a:p>
            <a:r>
              <a:rPr sz="1600">
                <a:latin typeface="微软雅黑" panose="020B0503020204020204" pitchFamily="34" charset="-122"/>
                <a:ea typeface="微软雅黑" panose="020B0503020204020204" pitchFamily="34" charset="-122"/>
                <a:cs typeface="微软雅黑" panose="020B0503020204020204" pitchFamily="34" charset="-122"/>
              </a:rPr>
              <a:t>添加、修改页属性</a:t>
            </a:r>
            <a:endParaRPr sz="1600">
              <a:latin typeface="微软雅黑" panose="020B0503020204020204" pitchFamily="34" charset="-122"/>
              <a:ea typeface="微软雅黑" panose="020B0503020204020204" pitchFamily="34" charset="-122"/>
              <a:cs typeface="微软雅黑" panose="020B0503020204020204" pitchFamily="34" charset="-122"/>
            </a:endParaRPr>
          </a:p>
          <a:p>
            <a:endParaRPr sz="1600">
              <a:latin typeface="微软雅黑" panose="020B0503020204020204" pitchFamily="34" charset="-122"/>
              <a:ea typeface="微软雅黑" panose="020B0503020204020204" pitchFamily="34" charset="-122"/>
              <a:cs typeface="微软雅黑" panose="020B0503020204020204" pitchFamily="34" charset="-122"/>
            </a:endParaRPr>
          </a:p>
          <a:p>
            <a:r>
              <a:rPr sz="1600">
                <a:latin typeface="微软雅黑" panose="020B0503020204020204" pitchFamily="34" charset="-122"/>
                <a:ea typeface="微软雅黑" panose="020B0503020204020204" pitchFamily="34" charset="-122"/>
                <a:cs typeface="微软雅黑" panose="020B0503020204020204" pitchFamily="34" charset="-122"/>
              </a:rPr>
              <a:t>fields：属性的先后顺序</a:t>
            </a:r>
            <a:endParaRPr sz="1600">
              <a:latin typeface="微软雅黑" panose="020B0503020204020204" pitchFamily="34" charset="-122"/>
              <a:ea typeface="微软雅黑" panose="020B0503020204020204" pitchFamily="34" charset="-122"/>
              <a:cs typeface="微软雅黑" panose="020B0503020204020204" pitchFamily="34" charset="-122"/>
            </a:endParaRPr>
          </a:p>
          <a:p>
            <a:endParaRPr sz="1600">
              <a:latin typeface="微软雅黑" panose="020B0503020204020204" pitchFamily="34" charset="-122"/>
              <a:ea typeface="微软雅黑" panose="020B0503020204020204" pitchFamily="34" charset="-122"/>
              <a:cs typeface="微软雅黑" panose="020B0503020204020204" pitchFamily="34" charset="-122"/>
            </a:endParaRPr>
          </a:p>
          <a:p>
            <a:r>
              <a:rPr sz="1600">
                <a:latin typeface="微软雅黑" panose="020B0503020204020204" pitchFamily="34" charset="-122"/>
                <a:ea typeface="微软雅黑" panose="020B0503020204020204" pitchFamily="34" charset="-122"/>
                <a:cs typeface="微软雅黑" panose="020B0503020204020204" pitchFamily="34" charset="-122"/>
              </a:rPr>
              <a:t>fieldsets：属性分组</a:t>
            </a:r>
            <a:endParaRPr sz="1600">
              <a:latin typeface="微软雅黑" panose="020B0503020204020204" pitchFamily="34" charset="-122"/>
              <a:ea typeface="微软雅黑" panose="020B0503020204020204" pitchFamily="34" charset="-122"/>
              <a:cs typeface="微软雅黑" panose="020B0503020204020204" pitchFamily="34" charset="-122"/>
            </a:endParaRPr>
          </a:p>
          <a:p>
            <a:endParaRPr sz="1600">
              <a:latin typeface="微软雅黑" panose="020B0503020204020204" pitchFamily="34" charset="-122"/>
              <a:ea typeface="微软雅黑" panose="020B0503020204020204" pitchFamily="34" charset="-122"/>
              <a:cs typeface="微软雅黑" panose="020B0503020204020204" pitchFamily="34" charset="-122"/>
            </a:endParaRPr>
          </a:p>
          <a:p>
            <a:r>
              <a:rPr sz="1600">
                <a:latin typeface="微软雅黑" panose="020B0503020204020204" pitchFamily="34" charset="-122"/>
                <a:ea typeface="微软雅黑" panose="020B0503020204020204" pitchFamily="34" charset="-122"/>
                <a:cs typeface="微软雅黑" panose="020B0503020204020204" pitchFamily="34" charset="-122"/>
              </a:rPr>
              <a:t>注意：上面两个属性，二者选一。</a:t>
            </a:r>
            <a:endParaRPr sz="1600">
              <a:latin typeface="微软雅黑" panose="020B0503020204020204" pitchFamily="34" charset="-122"/>
              <a:ea typeface="微软雅黑" panose="020B0503020204020204" pitchFamily="34" charset="-122"/>
              <a:cs typeface="微软雅黑" panose="020B0503020204020204" pitchFamily="34" charset="-122"/>
            </a:endParaRPr>
          </a:p>
        </p:txBody>
      </p:sp>
    </p:spTree>
    <p:custDataLst>
      <p:tags r:id="rId6"/>
    </p:custDataLst>
  </p:cSld>
  <p:clrMapOvr>
    <a:masterClrMapping/>
  </p:clrMapOvr>
  <p:transition spd="slow" advClick="0" advTm="3000">
    <p:randomBar dir="vert"/>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MH_Title_1"/>
          <p:cNvSpPr/>
          <p:nvPr>
            <p:custDataLst>
              <p:tags r:id="rId1"/>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25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2"/>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Yu Gothic UI Semibold" panose="020B0700000000000000" charset="-128"/>
              <a:ea typeface="Yu Gothic UI Semibold" panose="020B0700000000000000" charset="-128"/>
            </a:endParaRPr>
          </a:p>
        </p:txBody>
      </p:sp>
      <p:sp>
        <p:nvSpPr>
          <p:cNvPr id="20" name="MH_Other_2"/>
          <p:cNvSpPr/>
          <p:nvPr>
            <p:custDataLst>
              <p:tags r:id="rId3"/>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Yu Gothic UI Semibold" panose="020B0700000000000000" charset="-128"/>
              <a:ea typeface="Yu Gothic UI Semibold" panose="020B0700000000000000" charset="-128"/>
            </a:endParaRPr>
          </a:p>
        </p:txBody>
      </p:sp>
      <p:sp>
        <p:nvSpPr>
          <p:cNvPr id="21" name="MH_Other_3"/>
          <p:cNvSpPr/>
          <p:nvPr>
            <p:custDataLst>
              <p:tags r:id="rId4"/>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Yu Gothic UI Semibold" panose="020B0700000000000000" charset="-128"/>
              <a:ea typeface="Yu Gothic UI Semibold" panose="020B0700000000000000" charset="-128"/>
            </a:endParaRPr>
          </a:p>
        </p:txBody>
      </p:sp>
      <p:sp>
        <p:nvSpPr>
          <p:cNvPr id="22" name="MH_Other_4"/>
          <p:cNvSpPr/>
          <p:nvPr>
            <p:custDataLst>
              <p:tags r:id="rId5"/>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Yu Gothic UI Semibold" panose="020B0700000000000000" charset="-128"/>
              <a:ea typeface="Yu Gothic UI Semibold" panose="020B0700000000000000" charset="-128"/>
            </a:endParaRPr>
          </a:p>
        </p:txBody>
      </p:sp>
      <p:sp>
        <p:nvSpPr>
          <p:cNvPr id="4" name="标题 3"/>
          <p:cNvSpPr>
            <a:spLocks noGrp="1"/>
          </p:cNvSpPr>
          <p:nvPr>
            <p:ph type="title"/>
          </p:nvPr>
        </p:nvSpPr>
        <p:spPr>
          <a:xfrm>
            <a:off x="476250" y="249271"/>
            <a:ext cx="11239500" cy="968375"/>
          </a:xfrm>
        </p:spPr>
        <p:txBody>
          <a:bodyPr/>
          <a:lstStyle/>
          <a:p>
            <a:r>
              <a:rPr lang="zh-CN" altLang="en-US" dirty="0"/>
              <a:t>自定义管理页面例子</a:t>
            </a:r>
            <a:r>
              <a:rPr lang="en-US" altLang="zh-CN" dirty="0"/>
              <a:t>:</a:t>
            </a:r>
            <a:endParaRPr lang="en-US" altLang="zh-CN" dirty="0"/>
          </a:p>
        </p:txBody>
      </p:sp>
      <p:sp>
        <p:nvSpPr>
          <p:cNvPr id="3" name="文本框 2"/>
          <p:cNvSpPr txBox="1"/>
          <p:nvPr/>
        </p:nvSpPr>
        <p:spPr>
          <a:xfrm>
            <a:off x="1997710" y="1217930"/>
            <a:ext cx="7627620" cy="583565"/>
          </a:xfrm>
          <a:prstGeom prst="rect">
            <a:avLst/>
          </a:prstGeom>
          <a:solidFill>
            <a:srgbClr val="E5AB74"/>
          </a:solidFill>
        </p:spPr>
        <p:txBody>
          <a:bodyPr wrap="square" rtlCol="0" anchor="t">
            <a:spAutoFit/>
          </a:bodyPr>
          <a:lstStyle/>
          <a:p>
            <a:r>
              <a:rPr lang="zh-CN" sz="1600">
                <a:latin typeface="微软雅黑" panose="020B0503020204020204" pitchFamily="34" charset="-122"/>
                <a:ea typeface="微软雅黑" panose="020B0503020204020204" pitchFamily="34" charset="-122"/>
                <a:cs typeface="微软雅黑" panose="020B0503020204020204" pitchFamily="34" charset="-122"/>
              </a:rPr>
              <a:t>创建模型类对应的管理页面</a:t>
            </a:r>
            <a:r>
              <a:rPr lang="en-US" altLang="zh-CN" sz="1600">
                <a:latin typeface="微软雅黑" panose="020B0503020204020204" pitchFamily="34" charset="-122"/>
                <a:ea typeface="微软雅黑" panose="020B0503020204020204" pitchFamily="34" charset="-122"/>
                <a:cs typeface="微软雅黑" panose="020B0503020204020204" pitchFamily="34" charset="-122"/>
              </a:rPr>
              <a:t>admin</a:t>
            </a:r>
            <a:r>
              <a:rPr lang="zh-CN" altLang="en-US" sz="1600">
                <a:latin typeface="微软雅黑" panose="020B0503020204020204" pitchFamily="34" charset="-122"/>
                <a:ea typeface="微软雅黑" panose="020B0503020204020204" pitchFamily="34" charset="-122"/>
                <a:cs typeface="微软雅黑" panose="020B0503020204020204" pitchFamily="34" charset="-122"/>
              </a:rPr>
              <a:t>的类</a:t>
            </a:r>
            <a:endParaRPr lang="zh-CN" altLang="en-US" sz="1600">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sz="1600">
                <a:latin typeface="微软雅黑" panose="020B0503020204020204" pitchFamily="34" charset="-122"/>
                <a:ea typeface="微软雅黑" panose="020B0503020204020204" pitchFamily="34" charset="-122"/>
                <a:cs typeface="微软雅黑" panose="020B0503020204020204" pitchFamily="34" charset="-122"/>
              </a:rPr>
              <a:t>将自定义的类放到</a:t>
            </a:r>
            <a:r>
              <a:rPr lang="en-US" altLang="zh-CN" sz="1600">
                <a:latin typeface="微软雅黑" panose="020B0503020204020204" pitchFamily="34" charset="-122"/>
                <a:ea typeface="微软雅黑" panose="020B0503020204020204" pitchFamily="34" charset="-122"/>
                <a:cs typeface="微软雅黑" panose="020B0503020204020204" pitchFamily="34" charset="-122"/>
              </a:rPr>
              <a:t>register</a:t>
            </a:r>
            <a:r>
              <a:rPr lang="zh-CN" altLang="en-US" sz="1600">
                <a:latin typeface="微软雅黑" panose="020B0503020204020204" pitchFamily="34" charset="-122"/>
                <a:ea typeface="微软雅黑" panose="020B0503020204020204" pitchFamily="34" charset="-122"/>
                <a:cs typeface="微软雅黑" panose="020B0503020204020204" pitchFamily="34" charset="-122"/>
              </a:rPr>
              <a:t>方法中注册使用</a:t>
            </a:r>
            <a:endParaRPr lang="zh-CN" altLang="en-US" sz="1600">
              <a:latin typeface="微软雅黑" panose="020B0503020204020204" pitchFamily="34" charset="-122"/>
              <a:ea typeface="微软雅黑" panose="020B0503020204020204" pitchFamily="34" charset="-122"/>
              <a:cs typeface="微软雅黑" panose="020B0503020204020204" pitchFamily="34" charset="-122"/>
            </a:endParaRPr>
          </a:p>
        </p:txBody>
      </p:sp>
      <p:pic>
        <p:nvPicPr>
          <p:cNvPr id="7" name="图片 6"/>
          <p:cNvPicPr>
            <a:picLocks noChangeAspect="1"/>
          </p:cNvPicPr>
          <p:nvPr/>
        </p:nvPicPr>
        <p:blipFill>
          <a:blip r:embed="rId6"/>
          <a:stretch>
            <a:fillRect/>
          </a:stretch>
        </p:blipFill>
        <p:spPr>
          <a:xfrm>
            <a:off x="1997710" y="1801495"/>
            <a:ext cx="7626985" cy="3998595"/>
          </a:xfrm>
          <a:prstGeom prst="rect">
            <a:avLst/>
          </a:prstGeom>
        </p:spPr>
      </p:pic>
    </p:spTree>
    <p:custDataLst>
      <p:tags r:id="rId7"/>
    </p:custDataLst>
  </p:cSld>
  <p:clrMapOvr>
    <a:masterClrMapping/>
  </p:clrMapOvr>
  <p:transition spd="slow" advClick="0" advTm="3000">
    <p:randomBar dir="vert"/>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总结</a:t>
            </a:r>
            <a:endParaRPr lang="zh-CN" altLang="en-US" dirty="0"/>
          </a:p>
        </p:txBody>
      </p:sp>
      <p:sp>
        <p:nvSpPr>
          <p:cNvPr id="3" name="MH_SubTitle_3"/>
          <p:cNvSpPr/>
          <p:nvPr/>
        </p:nvSpPr>
        <p:spPr>
          <a:xfrm>
            <a:off x="4274958" y="2324851"/>
            <a:ext cx="1539141" cy="1539139"/>
          </a:xfrm>
          <a:custGeom>
            <a:avLst/>
            <a:gdLst>
              <a:gd name="connsiteX0" fmla="*/ 787651 w 1575300"/>
              <a:gd name="connsiteY0" fmla="*/ 0 h 1575299"/>
              <a:gd name="connsiteX1" fmla="*/ 921071 w 1575300"/>
              <a:gd name="connsiteY1" fmla="*/ 55264 h 1575299"/>
              <a:gd name="connsiteX2" fmla="*/ 1520036 w 1575300"/>
              <a:gd name="connsiteY2" fmla="*/ 654229 h 1575299"/>
              <a:gd name="connsiteX3" fmla="*/ 1520036 w 1575300"/>
              <a:gd name="connsiteY3" fmla="*/ 921070 h 1575299"/>
              <a:gd name="connsiteX4" fmla="*/ 1280979 w 1575300"/>
              <a:gd name="connsiteY4" fmla="*/ 1160127 h 1575299"/>
              <a:gd name="connsiteX5" fmla="*/ 1336741 w 1575300"/>
              <a:gd name="connsiteY5" fmla="*/ 1215890 h 1575299"/>
              <a:gd name="connsiteX6" fmla="*/ 1397167 w 1575300"/>
              <a:gd name="connsiteY6" fmla="*/ 1155464 h 1575299"/>
              <a:gd name="connsiteX7" fmla="*/ 1381468 w 1575300"/>
              <a:gd name="connsiteY7" fmla="*/ 1381468 h 1575299"/>
              <a:gd name="connsiteX8" fmla="*/ 1155464 w 1575300"/>
              <a:gd name="connsiteY8" fmla="*/ 1397166 h 1575299"/>
              <a:gd name="connsiteX9" fmla="*/ 1215890 w 1575300"/>
              <a:gd name="connsiteY9" fmla="*/ 1336740 h 1575299"/>
              <a:gd name="connsiteX10" fmla="*/ 1160128 w 1575300"/>
              <a:gd name="connsiteY10" fmla="*/ 1280978 h 1575299"/>
              <a:gd name="connsiteX11" fmla="*/ 921071 w 1575300"/>
              <a:gd name="connsiteY11" fmla="*/ 1520035 h 1575299"/>
              <a:gd name="connsiteX12" fmla="*/ 654230 w 1575300"/>
              <a:gd name="connsiteY12" fmla="*/ 1520035 h 1575299"/>
              <a:gd name="connsiteX13" fmla="*/ 55266 w 1575300"/>
              <a:gd name="connsiteY13" fmla="*/ 921070 h 1575299"/>
              <a:gd name="connsiteX14" fmla="*/ 55266 w 1575300"/>
              <a:gd name="connsiteY14" fmla="*/ 654229 h 1575299"/>
              <a:gd name="connsiteX15" fmla="*/ 654230 w 1575300"/>
              <a:gd name="connsiteY15" fmla="*/ 55264 h 1575299"/>
              <a:gd name="connsiteX16" fmla="*/ 787651 w 1575300"/>
              <a:gd name="connsiteY16" fmla="*/ 0 h 1575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5300" h="1575299">
                <a:moveTo>
                  <a:pt x="787651" y="0"/>
                </a:moveTo>
                <a:cubicBezTo>
                  <a:pt x="835939" y="0"/>
                  <a:pt x="884228" y="18421"/>
                  <a:pt x="921071" y="55264"/>
                </a:cubicBezTo>
                <a:lnTo>
                  <a:pt x="1520036" y="654229"/>
                </a:lnTo>
                <a:cubicBezTo>
                  <a:pt x="1593722" y="727915"/>
                  <a:pt x="1593722" y="847384"/>
                  <a:pt x="1520036" y="921070"/>
                </a:cubicBezTo>
                <a:lnTo>
                  <a:pt x="1280979" y="1160127"/>
                </a:lnTo>
                <a:lnTo>
                  <a:pt x="1336741" y="1215890"/>
                </a:lnTo>
                <a:lnTo>
                  <a:pt x="1397167" y="1155464"/>
                </a:lnTo>
                <a:lnTo>
                  <a:pt x="1381468" y="1381468"/>
                </a:lnTo>
                <a:lnTo>
                  <a:pt x="1155464" y="1397166"/>
                </a:lnTo>
                <a:lnTo>
                  <a:pt x="1215890" y="1336740"/>
                </a:lnTo>
                <a:lnTo>
                  <a:pt x="1160128" y="1280978"/>
                </a:lnTo>
                <a:lnTo>
                  <a:pt x="921071" y="1520035"/>
                </a:lnTo>
                <a:cubicBezTo>
                  <a:pt x="847385" y="1593721"/>
                  <a:pt x="727916" y="1593721"/>
                  <a:pt x="654230" y="1520035"/>
                </a:cubicBezTo>
                <a:lnTo>
                  <a:pt x="55266" y="921070"/>
                </a:lnTo>
                <a:cubicBezTo>
                  <a:pt x="-18421" y="847384"/>
                  <a:pt x="-18421" y="727915"/>
                  <a:pt x="55266" y="654229"/>
                </a:cubicBezTo>
                <a:lnTo>
                  <a:pt x="654230" y="55264"/>
                </a:lnTo>
                <a:cubicBezTo>
                  <a:pt x="691073" y="18421"/>
                  <a:pt x="739362" y="0"/>
                  <a:pt x="787651"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dirty="0">
                <a:solidFill>
                  <a:srgbClr val="FFFFFF"/>
                </a:solidFill>
                <a:latin typeface="Arial" panose="020B0604020202020204" pitchFamily="34" charset="0"/>
                <a:ea typeface="黑体" panose="02010609060101010101" pitchFamily="49" charset="-122"/>
              </a:rPr>
              <a:t>上下文处理器</a:t>
            </a:r>
            <a:endParaRPr lang="zh-CN" altLang="en-US" sz="2400" dirty="0">
              <a:solidFill>
                <a:srgbClr val="FFFFFF"/>
              </a:solidFill>
              <a:latin typeface="Arial" panose="020B0604020202020204" pitchFamily="34" charset="0"/>
              <a:ea typeface="黑体" panose="02010609060101010101" pitchFamily="49" charset="-122"/>
            </a:endParaRPr>
          </a:p>
        </p:txBody>
      </p:sp>
      <p:sp>
        <p:nvSpPr>
          <p:cNvPr id="4" name="MH_SubTitle_1"/>
          <p:cNvSpPr/>
          <p:nvPr/>
        </p:nvSpPr>
        <p:spPr>
          <a:xfrm>
            <a:off x="2053680" y="2324850"/>
            <a:ext cx="1539141" cy="1539139"/>
          </a:xfrm>
          <a:custGeom>
            <a:avLst/>
            <a:gdLst>
              <a:gd name="connsiteX0" fmla="*/ 787651 w 1575300"/>
              <a:gd name="connsiteY0" fmla="*/ 0 h 1575299"/>
              <a:gd name="connsiteX1" fmla="*/ 921071 w 1575300"/>
              <a:gd name="connsiteY1" fmla="*/ 55264 h 1575299"/>
              <a:gd name="connsiteX2" fmla="*/ 1520036 w 1575300"/>
              <a:gd name="connsiteY2" fmla="*/ 654229 h 1575299"/>
              <a:gd name="connsiteX3" fmla="*/ 1520036 w 1575300"/>
              <a:gd name="connsiteY3" fmla="*/ 921070 h 1575299"/>
              <a:gd name="connsiteX4" fmla="*/ 1280979 w 1575300"/>
              <a:gd name="connsiteY4" fmla="*/ 1160127 h 1575299"/>
              <a:gd name="connsiteX5" fmla="*/ 1336741 w 1575300"/>
              <a:gd name="connsiteY5" fmla="*/ 1215890 h 1575299"/>
              <a:gd name="connsiteX6" fmla="*/ 1397167 w 1575300"/>
              <a:gd name="connsiteY6" fmla="*/ 1155464 h 1575299"/>
              <a:gd name="connsiteX7" fmla="*/ 1381468 w 1575300"/>
              <a:gd name="connsiteY7" fmla="*/ 1381468 h 1575299"/>
              <a:gd name="connsiteX8" fmla="*/ 1155464 w 1575300"/>
              <a:gd name="connsiteY8" fmla="*/ 1397167 h 1575299"/>
              <a:gd name="connsiteX9" fmla="*/ 1215890 w 1575300"/>
              <a:gd name="connsiteY9" fmla="*/ 1336741 h 1575299"/>
              <a:gd name="connsiteX10" fmla="*/ 1160128 w 1575300"/>
              <a:gd name="connsiteY10" fmla="*/ 1280978 h 1575299"/>
              <a:gd name="connsiteX11" fmla="*/ 921071 w 1575300"/>
              <a:gd name="connsiteY11" fmla="*/ 1520035 h 1575299"/>
              <a:gd name="connsiteX12" fmla="*/ 654230 w 1575300"/>
              <a:gd name="connsiteY12" fmla="*/ 1520035 h 1575299"/>
              <a:gd name="connsiteX13" fmla="*/ 55266 w 1575300"/>
              <a:gd name="connsiteY13" fmla="*/ 921070 h 1575299"/>
              <a:gd name="connsiteX14" fmla="*/ 55266 w 1575300"/>
              <a:gd name="connsiteY14" fmla="*/ 654229 h 1575299"/>
              <a:gd name="connsiteX15" fmla="*/ 654230 w 1575300"/>
              <a:gd name="connsiteY15" fmla="*/ 55264 h 1575299"/>
              <a:gd name="connsiteX16" fmla="*/ 787651 w 1575300"/>
              <a:gd name="connsiteY16" fmla="*/ 0 h 1575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5300" h="1575299">
                <a:moveTo>
                  <a:pt x="787651" y="0"/>
                </a:moveTo>
                <a:cubicBezTo>
                  <a:pt x="835939" y="0"/>
                  <a:pt x="884228" y="18421"/>
                  <a:pt x="921071" y="55264"/>
                </a:cubicBezTo>
                <a:lnTo>
                  <a:pt x="1520036" y="654229"/>
                </a:lnTo>
                <a:cubicBezTo>
                  <a:pt x="1593722" y="727915"/>
                  <a:pt x="1593722" y="847384"/>
                  <a:pt x="1520036" y="921070"/>
                </a:cubicBezTo>
                <a:lnTo>
                  <a:pt x="1280979" y="1160127"/>
                </a:lnTo>
                <a:lnTo>
                  <a:pt x="1336741" y="1215890"/>
                </a:lnTo>
                <a:lnTo>
                  <a:pt x="1397167" y="1155464"/>
                </a:lnTo>
                <a:lnTo>
                  <a:pt x="1381468" y="1381468"/>
                </a:lnTo>
                <a:lnTo>
                  <a:pt x="1155464" y="1397167"/>
                </a:lnTo>
                <a:lnTo>
                  <a:pt x="1215890" y="1336741"/>
                </a:lnTo>
                <a:lnTo>
                  <a:pt x="1160128" y="1280978"/>
                </a:lnTo>
                <a:lnTo>
                  <a:pt x="921071" y="1520035"/>
                </a:lnTo>
                <a:cubicBezTo>
                  <a:pt x="847385" y="1593721"/>
                  <a:pt x="727916" y="1593721"/>
                  <a:pt x="654230" y="1520035"/>
                </a:cubicBezTo>
                <a:lnTo>
                  <a:pt x="55266" y="921070"/>
                </a:lnTo>
                <a:cubicBezTo>
                  <a:pt x="-18421" y="847384"/>
                  <a:pt x="-18421" y="727915"/>
                  <a:pt x="55266" y="654229"/>
                </a:cubicBezTo>
                <a:lnTo>
                  <a:pt x="654230" y="55264"/>
                </a:lnTo>
                <a:cubicBezTo>
                  <a:pt x="691073" y="18421"/>
                  <a:pt x="739362" y="0"/>
                  <a:pt x="787651"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dirty="0">
                <a:solidFill>
                  <a:srgbClr val="FFFFFF"/>
                </a:solidFill>
                <a:latin typeface="Arial" panose="020B0604020202020204" pitchFamily="34" charset="0"/>
                <a:ea typeface="黑体" panose="02010609060101010101" pitchFamily="49" charset="-122"/>
              </a:rPr>
              <a:t>中间件</a:t>
            </a:r>
            <a:endParaRPr lang="zh-CN" altLang="en-US" sz="2400" dirty="0">
              <a:solidFill>
                <a:srgbClr val="FFFFFF"/>
              </a:solidFill>
              <a:latin typeface="Arial" panose="020B0604020202020204" pitchFamily="34" charset="0"/>
              <a:ea typeface="黑体" panose="02010609060101010101" pitchFamily="49" charset="-122"/>
            </a:endParaRPr>
          </a:p>
        </p:txBody>
      </p:sp>
      <p:sp>
        <p:nvSpPr>
          <p:cNvPr id="7" name="MH_SubTitle_4"/>
          <p:cNvSpPr/>
          <p:nvPr/>
        </p:nvSpPr>
        <p:spPr>
          <a:xfrm>
            <a:off x="7808418" y="3501596"/>
            <a:ext cx="1539140" cy="1539140"/>
          </a:xfrm>
          <a:custGeom>
            <a:avLst/>
            <a:gdLst>
              <a:gd name="connsiteX0" fmla="*/ 787650 w 1575299"/>
              <a:gd name="connsiteY0" fmla="*/ 0 h 1575300"/>
              <a:gd name="connsiteX1" fmla="*/ 921070 w 1575299"/>
              <a:gd name="connsiteY1" fmla="*/ 55265 h 1575300"/>
              <a:gd name="connsiteX2" fmla="*/ 1520035 w 1575299"/>
              <a:gd name="connsiteY2" fmla="*/ 654230 h 1575300"/>
              <a:gd name="connsiteX3" fmla="*/ 1520035 w 1575299"/>
              <a:gd name="connsiteY3" fmla="*/ 921071 h 1575300"/>
              <a:gd name="connsiteX4" fmla="*/ 921070 w 1575299"/>
              <a:gd name="connsiteY4" fmla="*/ 1520035 h 1575300"/>
              <a:gd name="connsiteX5" fmla="*/ 654229 w 1575299"/>
              <a:gd name="connsiteY5" fmla="*/ 1520035 h 1575300"/>
              <a:gd name="connsiteX6" fmla="*/ 55265 w 1575299"/>
              <a:gd name="connsiteY6" fmla="*/ 921071 h 1575300"/>
              <a:gd name="connsiteX7" fmla="*/ 55265 w 1575299"/>
              <a:gd name="connsiteY7" fmla="*/ 654230 h 1575300"/>
              <a:gd name="connsiteX8" fmla="*/ 654229 w 1575299"/>
              <a:gd name="connsiteY8" fmla="*/ 55265 h 1575300"/>
              <a:gd name="connsiteX9" fmla="*/ 787650 w 1575299"/>
              <a:gd name="connsiteY9" fmla="*/ 0 h 157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5299" h="1575300">
                <a:moveTo>
                  <a:pt x="787650" y="0"/>
                </a:moveTo>
                <a:cubicBezTo>
                  <a:pt x="835939" y="0"/>
                  <a:pt x="884227" y="18422"/>
                  <a:pt x="921070" y="55265"/>
                </a:cubicBezTo>
                <a:lnTo>
                  <a:pt x="1520035" y="654230"/>
                </a:lnTo>
                <a:cubicBezTo>
                  <a:pt x="1593721" y="727916"/>
                  <a:pt x="1593721" y="847385"/>
                  <a:pt x="1520035" y="921071"/>
                </a:cubicBezTo>
                <a:lnTo>
                  <a:pt x="921070" y="1520035"/>
                </a:lnTo>
                <a:cubicBezTo>
                  <a:pt x="847384" y="1593722"/>
                  <a:pt x="727915" y="1593722"/>
                  <a:pt x="654229" y="1520035"/>
                </a:cubicBezTo>
                <a:lnTo>
                  <a:pt x="55265" y="921071"/>
                </a:lnTo>
                <a:cubicBezTo>
                  <a:pt x="-18422" y="847385"/>
                  <a:pt x="-18422" y="727916"/>
                  <a:pt x="55265" y="654230"/>
                </a:cubicBezTo>
                <a:lnTo>
                  <a:pt x="654229" y="55265"/>
                </a:lnTo>
                <a:cubicBezTo>
                  <a:pt x="691072" y="18422"/>
                  <a:pt x="739361" y="0"/>
                  <a:pt x="787650"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dirty="0">
                <a:solidFill>
                  <a:srgbClr val="FFFFFF"/>
                </a:solidFill>
                <a:latin typeface="Arial" panose="020B0604020202020204" pitchFamily="34" charset="0"/>
                <a:ea typeface="黑体" panose="02010609060101010101" pitchFamily="49" charset="-122"/>
              </a:rPr>
              <a:t>完</a:t>
            </a:r>
            <a:endParaRPr lang="zh-CN" altLang="en-US" sz="2400" dirty="0">
              <a:solidFill>
                <a:srgbClr val="FFFFFF"/>
              </a:solidFill>
              <a:latin typeface="Arial" panose="020B0604020202020204" pitchFamily="34" charset="0"/>
              <a:ea typeface="黑体" panose="02010609060101010101" pitchFamily="49" charset="-122"/>
            </a:endParaRPr>
          </a:p>
        </p:txBody>
      </p:sp>
      <p:sp>
        <p:nvSpPr>
          <p:cNvPr id="9" name="MH_SubTitle_3"/>
          <p:cNvSpPr/>
          <p:nvPr/>
        </p:nvSpPr>
        <p:spPr>
          <a:xfrm>
            <a:off x="6490475" y="2324851"/>
            <a:ext cx="1539141" cy="1539139"/>
          </a:xfrm>
          <a:custGeom>
            <a:avLst/>
            <a:gdLst>
              <a:gd name="connsiteX0" fmla="*/ 787651 w 1575300"/>
              <a:gd name="connsiteY0" fmla="*/ 0 h 1575299"/>
              <a:gd name="connsiteX1" fmla="*/ 921071 w 1575300"/>
              <a:gd name="connsiteY1" fmla="*/ 55264 h 1575299"/>
              <a:gd name="connsiteX2" fmla="*/ 1520036 w 1575300"/>
              <a:gd name="connsiteY2" fmla="*/ 654229 h 1575299"/>
              <a:gd name="connsiteX3" fmla="*/ 1520036 w 1575300"/>
              <a:gd name="connsiteY3" fmla="*/ 921070 h 1575299"/>
              <a:gd name="connsiteX4" fmla="*/ 1280979 w 1575300"/>
              <a:gd name="connsiteY4" fmla="*/ 1160127 h 1575299"/>
              <a:gd name="connsiteX5" fmla="*/ 1336741 w 1575300"/>
              <a:gd name="connsiteY5" fmla="*/ 1215890 h 1575299"/>
              <a:gd name="connsiteX6" fmla="*/ 1397167 w 1575300"/>
              <a:gd name="connsiteY6" fmla="*/ 1155464 h 1575299"/>
              <a:gd name="connsiteX7" fmla="*/ 1381468 w 1575300"/>
              <a:gd name="connsiteY7" fmla="*/ 1381468 h 1575299"/>
              <a:gd name="connsiteX8" fmla="*/ 1155464 w 1575300"/>
              <a:gd name="connsiteY8" fmla="*/ 1397166 h 1575299"/>
              <a:gd name="connsiteX9" fmla="*/ 1215890 w 1575300"/>
              <a:gd name="connsiteY9" fmla="*/ 1336740 h 1575299"/>
              <a:gd name="connsiteX10" fmla="*/ 1160128 w 1575300"/>
              <a:gd name="connsiteY10" fmla="*/ 1280978 h 1575299"/>
              <a:gd name="connsiteX11" fmla="*/ 921071 w 1575300"/>
              <a:gd name="connsiteY11" fmla="*/ 1520035 h 1575299"/>
              <a:gd name="connsiteX12" fmla="*/ 654230 w 1575300"/>
              <a:gd name="connsiteY12" fmla="*/ 1520035 h 1575299"/>
              <a:gd name="connsiteX13" fmla="*/ 55266 w 1575300"/>
              <a:gd name="connsiteY13" fmla="*/ 921070 h 1575299"/>
              <a:gd name="connsiteX14" fmla="*/ 55266 w 1575300"/>
              <a:gd name="connsiteY14" fmla="*/ 654229 h 1575299"/>
              <a:gd name="connsiteX15" fmla="*/ 654230 w 1575300"/>
              <a:gd name="connsiteY15" fmla="*/ 55264 h 1575299"/>
              <a:gd name="connsiteX16" fmla="*/ 787651 w 1575300"/>
              <a:gd name="connsiteY16" fmla="*/ 0 h 1575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5300" h="1575299">
                <a:moveTo>
                  <a:pt x="787651" y="0"/>
                </a:moveTo>
                <a:cubicBezTo>
                  <a:pt x="835939" y="0"/>
                  <a:pt x="884228" y="18421"/>
                  <a:pt x="921071" y="55264"/>
                </a:cubicBezTo>
                <a:lnTo>
                  <a:pt x="1520036" y="654229"/>
                </a:lnTo>
                <a:cubicBezTo>
                  <a:pt x="1593722" y="727915"/>
                  <a:pt x="1593722" y="847384"/>
                  <a:pt x="1520036" y="921070"/>
                </a:cubicBezTo>
                <a:lnTo>
                  <a:pt x="1280979" y="1160127"/>
                </a:lnTo>
                <a:lnTo>
                  <a:pt x="1336741" y="1215890"/>
                </a:lnTo>
                <a:lnTo>
                  <a:pt x="1397167" y="1155464"/>
                </a:lnTo>
                <a:lnTo>
                  <a:pt x="1381468" y="1381468"/>
                </a:lnTo>
                <a:lnTo>
                  <a:pt x="1155464" y="1397166"/>
                </a:lnTo>
                <a:lnTo>
                  <a:pt x="1215890" y="1336740"/>
                </a:lnTo>
                <a:lnTo>
                  <a:pt x="1160128" y="1280978"/>
                </a:lnTo>
                <a:lnTo>
                  <a:pt x="921071" y="1520035"/>
                </a:lnTo>
                <a:cubicBezTo>
                  <a:pt x="847385" y="1593721"/>
                  <a:pt x="727916" y="1593721"/>
                  <a:pt x="654230" y="1520035"/>
                </a:cubicBezTo>
                <a:lnTo>
                  <a:pt x="55266" y="921070"/>
                </a:lnTo>
                <a:cubicBezTo>
                  <a:pt x="-18421" y="847384"/>
                  <a:pt x="-18421" y="727915"/>
                  <a:pt x="55266" y="654229"/>
                </a:cubicBezTo>
                <a:lnTo>
                  <a:pt x="654230" y="55264"/>
                </a:lnTo>
                <a:cubicBezTo>
                  <a:pt x="691073" y="18421"/>
                  <a:pt x="739362" y="0"/>
                  <a:pt x="78765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dirty="0">
                <a:solidFill>
                  <a:srgbClr val="FFFFFF"/>
                </a:solidFill>
                <a:latin typeface="Arial" panose="020B0604020202020204" pitchFamily="34" charset="0"/>
                <a:ea typeface="黑体" panose="02010609060101010101" pitchFamily="49" charset="-122"/>
              </a:rPr>
              <a:t>admin</a:t>
            </a:r>
            <a:endParaRPr lang="en-US" altLang="zh-CN" sz="2400" dirty="0">
              <a:solidFill>
                <a:srgbClr val="FFFFFF"/>
              </a:solidFill>
              <a:latin typeface="Arial" panose="020B0604020202020204" pitchFamily="34" charset="0"/>
              <a:ea typeface="黑体" panose="02010609060101010101" pitchFamily="49" charset="-122"/>
            </a:endParaRPr>
          </a:p>
          <a:p>
            <a:pPr algn="ctr"/>
            <a:r>
              <a:rPr lang="zh-CN" altLang="en-US" sz="2400" dirty="0">
                <a:solidFill>
                  <a:srgbClr val="FFFFFF"/>
                </a:solidFill>
                <a:latin typeface="Arial" panose="020B0604020202020204" pitchFamily="34" charset="0"/>
                <a:ea typeface="黑体" panose="02010609060101010101" pitchFamily="49" charset="-122"/>
              </a:rPr>
              <a:t>后台</a:t>
            </a:r>
            <a:endParaRPr lang="zh-CN" altLang="en-US" sz="2400" dirty="0">
              <a:solidFill>
                <a:srgbClr val="FFFFFF"/>
              </a:solidFill>
              <a:latin typeface="Arial" panose="020B0604020202020204" pitchFamily="34" charset="0"/>
              <a:ea typeface="黑体" panose="02010609060101010101" pitchFamily="49" charset="-122"/>
            </a:endParaRPr>
          </a:p>
        </p:txBody>
      </p:sp>
    </p:spTree>
  </p:cSld>
  <p:clrMapOvr>
    <a:masterClrMapping/>
  </p:clrMapOvr>
  <p:transition spd="slow" advClick="0" advTm="3000">
    <p:randomBar dir="vert"/>
  </p:transition>
</p:sld>
</file>

<file path=ppt/slides/slide28.xml><?xml version="1.0" encoding="utf-8"?>
<p:sld xmlns:a="http://schemas.openxmlformats.org/drawingml/2006/main" xmlns:r="http://schemas.openxmlformats.org/officeDocument/2006/relationships" xmlns:p="http://schemas.openxmlformats.org/presentationml/2006/main">
  <p:cSld>
    <p:bg>
      <p:bgPr>
        <a:solidFill>
          <a:srgbClr val="F9F6E7"/>
        </a:solidFill>
        <a:effectLst/>
      </p:bgPr>
    </p:bg>
    <p:spTree>
      <p:nvGrpSpPr>
        <p:cNvPr id="1" name=""/>
        <p:cNvGrpSpPr/>
        <p:nvPr/>
      </p:nvGrpSpPr>
      <p:grpSpPr>
        <a:xfrm>
          <a:off x="0" y="0"/>
          <a:ext cx="0" cy="0"/>
          <a:chOff x="0" y="0"/>
          <a:chExt cx="0" cy="0"/>
        </a:xfrm>
      </p:grpSpPr>
      <p:sp>
        <p:nvSpPr>
          <p:cNvPr id="17" name="MH_Title_1"/>
          <p:cNvSpPr/>
          <p:nvPr>
            <p:custDataLst>
              <p:tags r:id="rId1"/>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50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3074" name="MH_PageTitle"/>
          <p:cNvSpPr>
            <a:spLocks noGrp="1"/>
          </p:cNvSpPr>
          <p:nvPr>
            <p:ph type="title"/>
            <p:custDataLst>
              <p:tags r:id="rId2"/>
            </p:custDataLst>
          </p:nvPr>
        </p:nvSpPr>
        <p:spPr/>
        <p:txBody>
          <a:bodyPr>
            <a:normAutofit/>
          </a:bodyPr>
          <a:lstStyle/>
          <a:p>
            <a:r>
              <a:rPr lang="zh-CN" altLang="en-US" dirty="0"/>
              <a:t>作业</a:t>
            </a:r>
            <a:r>
              <a:rPr lang="en-US" altLang="zh-CN" dirty="0"/>
              <a:t>:</a:t>
            </a:r>
            <a:endParaRPr lang="en-US" altLang="zh-CN" dirty="0"/>
          </a:p>
        </p:txBody>
      </p:sp>
      <p:sp>
        <p:nvSpPr>
          <p:cNvPr id="12" name="MH_Other_1"/>
          <p:cNvSpPr/>
          <p:nvPr>
            <p:custDataLst>
              <p:tags r:id="rId3"/>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Yu Gothic UI Semibold" panose="020B0700000000000000" charset="-128"/>
              <a:ea typeface="Yu Gothic UI Semibold" panose="020B0700000000000000" charset="-128"/>
            </a:endParaRPr>
          </a:p>
        </p:txBody>
      </p:sp>
      <p:sp>
        <p:nvSpPr>
          <p:cNvPr id="13" name="MH_Other_2"/>
          <p:cNvSpPr/>
          <p:nvPr>
            <p:custDataLst>
              <p:tags r:id="rId4"/>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Yu Gothic UI Semibold" panose="020B0700000000000000" charset="-128"/>
              <a:ea typeface="Yu Gothic UI Semibold" panose="020B0700000000000000" charset="-128"/>
            </a:endParaRPr>
          </a:p>
        </p:txBody>
      </p:sp>
      <p:sp>
        <p:nvSpPr>
          <p:cNvPr id="14" name="MH_Other_3"/>
          <p:cNvSpPr/>
          <p:nvPr>
            <p:custDataLst>
              <p:tags r:id="rId5"/>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Yu Gothic UI Semibold" panose="020B0700000000000000" charset="-128"/>
              <a:ea typeface="Yu Gothic UI Semibold" panose="020B0700000000000000" charset="-128"/>
            </a:endParaRPr>
          </a:p>
        </p:txBody>
      </p:sp>
      <p:sp>
        <p:nvSpPr>
          <p:cNvPr id="16" name="MH_Other_4"/>
          <p:cNvSpPr/>
          <p:nvPr>
            <p:custDataLst>
              <p:tags r:id="rId6"/>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Yu Gothic UI Semibold" panose="020B0700000000000000" charset="-128"/>
              <a:ea typeface="Yu Gothic UI Semibold" panose="020B0700000000000000" charset="-128"/>
            </a:endParaRPr>
          </a:p>
        </p:txBody>
      </p:sp>
      <p:pic>
        <p:nvPicPr>
          <p:cNvPr id="5" name="图片 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0262" y="6343311"/>
            <a:ext cx="1380565" cy="514787"/>
          </a:xfrm>
          <a:prstGeom prst="rect">
            <a:avLst/>
          </a:prstGeom>
        </p:spPr>
      </p:pic>
      <p:sp>
        <p:nvSpPr>
          <p:cNvPr id="6" name="AutoShape 4"/>
          <p:cNvSpPr>
            <a:spLocks noChangeArrowheads="1"/>
          </p:cNvSpPr>
          <p:nvPr>
            <p:custDataLst>
              <p:tags r:id="rId8"/>
            </p:custDataLst>
          </p:nvPr>
        </p:nvSpPr>
        <p:spPr bwMode="white">
          <a:xfrm>
            <a:off x="918210" y="2240915"/>
            <a:ext cx="9558020" cy="2911475"/>
          </a:xfrm>
          <a:prstGeom prst="roundRect">
            <a:avLst>
              <a:gd name="adj" fmla="val 7012"/>
            </a:avLst>
          </a:prstGeom>
          <a:noFill/>
          <a:ln w="38100" cap="flat" cmpd="sng" algn="ctr">
            <a:solidFill>
              <a:srgbClr val="5BA78C"/>
            </a:solidFill>
            <a:prstDash val="solid"/>
          </a:ln>
          <a:effectLst/>
        </p:spPr>
        <p:txBody>
          <a:bodyPr anchor="ctr"/>
          <a:lstStyle/>
          <a:p>
            <a:pPr marL="0" lvl="2" algn="ctr" defTabSz="913765" eaLnBrk="0" fontAlgn="ctr" hangingPunct="0">
              <a:buClr>
                <a:srgbClr val="FF0000"/>
              </a:buClr>
              <a:buSzPct val="70000"/>
              <a:buFont typeface="Wingdings" panose="05000000000000000000" pitchFamily="2" charset="2"/>
              <a:buChar char="n"/>
              <a:tabLst>
                <a:tab pos="135890" algn="l"/>
              </a:tabLst>
              <a:defRPr/>
            </a:pPr>
            <a:endParaRPr lang="zh-CN" altLang="en-US" sz="1865" kern="0" dirty="0">
              <a:solidFill>
                <a:srgbClr val="FFFFFF"/>
              </a:solidFill>
              <a:latin typeface="微软雅黑" panose="020B0503020204020204" pitchFamily="34" charset="-122"/>
              <a:ea typeface="微软雅黑" panose="020B0503020204020204" pitchFamily="34" charset="-122"/>
            </a:endParaRPr>
          </a:p>
        </p:txBody>
      </p:sp>
      <p:sp>
        <p:nvSpPr>
          <p:cNvPr id="7" name="AutoShape 3"/>
          <p:cNvSpPr>
            <a:spLocks noChangeArrowheads="1"/>
          </p:cNvSpPr>
          <p:nvPr/>
        </p:nvSpPr>
        <p:spPr bwMode="auto">
          <a:xfrm>
            <a:off x="1300454" y="1966715"/>
            <a:ext cx="3482805" cy="671705"/>
          </a:xfrm>
          <a:prstGeom prst="roundRect">
            <a:avLst/>
          </a:prstGeom>
          <a:solidFill>
            <a:srgbClr val="5BA78C"/>
          </a:solidFill>
          <a:ln w="25400" cap="flat" cmpd="sng" algn="ctr">
            <a:noFill/>
            <a:prstDash val="solid"/>
          </a:ln>
          <a:effectLst/>
        </p:spPr>
        <p:txBody>
          <a:bodyPr anchor="ctr"/>
          <a:lstStyle/>
          <a:p>
            <a:pPr algn="ctr" defTabSz="913765" eaLnBrk="0" fontAlgn="ctr" hangingPunct="0">
              <a:buClr>
                <a:srgbClr val="FF0000"/>
              </a:buClr>
              <a:buSzPct val="70000"/>
              <a:defRPr/>
            </a:pPr>
            <a:endParaRPr lang="zh-CN" altLang="zh-CN" sz="2135" b="1" kern="0">
              <a:solidFill>
                <a:srgbClr val="FFFFFF"/>
              </a:solidFill>
              <a:latin typeface="微软雅黑" panose="020B0503020204020204" pitchFamily="34" charset="-122"/>
              <a:ea typeface="微软雅黑" panose="020B0503020204020204" pitchFamily="34" charset="-122"/>
            </a:endParaRPr>
          </a:p>
        </p:txBody>
      </p:sp>
      <p:sp>
        <p:nvSpPr>
          <p:cNvPr id="2" name="文本框 1"/>
          <p:cNvSpPr txBox="1"/>
          <p:nvPr/>
        </p:nvSpPr>
        <p:spPr>
          <a:xfrm>
            <a:off x="2142251" y="3004610"/>
            <a:ext cx="4829175" cy="1198880"/>
          </a:xfrm>
          <a:prstGeom prst="rect">
            <a:avLst/>
          </a:prstGeom>
          <a:noFill/>
        </p:spPr>
        <p:txBody>
          <a:bodyPr wrap="none" rtlCol="0">
            <a:spAutoFit/>
          </a:bodyPr>
          <a:lstStyle/>
          <a:p>
            <a:pPr algn="l" fontAlgn="auto">
              <a:lnSpc>
                <a:spcPct val="150000"/>
              </a:lnSpc>
            </a:pPr>
            <a:r>
              <a:rPr lang="zh-CN" altLang="en-US" sz="2400" dirty="0"/>
              <a:t>掌握中间件和上下文自定义的过程</a:t>
            </a:r>
            <a:r>
              <a:rPr lang="en-US" altLang="zh-CN" sz="2400" dirty="0"/>
              <a:t>.</a:t>
            </a:r>
            <a:endParaRPr lang="en-US" altLang="zh-CN" sz="2400" dirty="0"/>
          </a:p>
          <a:p>
            <a:pPr algn="l" fontAlgn="auto">
              <a:lnSpc>
                <a:spcPct val="150000"/>
              </a:lnSpc>
            </a:pPr>
            <a:r>
              <a:rPr lang="zh-CN" altLang="en-US" sz="2400" dirty="0"/>
              <a:t>了解</a:t>
            </a:r>
            <a:r>
              <a:rPr lang="en-US" altLang="zh-CN" sz="2400" dirty="0"/>
              <a:t>admin</a:t>
            </a:r>
            <a:r>
              <a:rPr lang="zh-CN" altLang="en-US" sz="2400" dirty="0"/>
              <a:t>后台系统的基本操作</a:t>
            </a:r>
            <a:endParaRPr lang="zh-CN" altLang="en-US" sz="2400" dirty="0"/>
          </a:p>
        </p:txBody>
      </p:sp>
      <p:sp>
        <p:nvSpPr>
          <p:cNvPr id="9" name="文本框 8"/>
          <p:cNvSpPr txBox="1"/>
          <p:nvPr/>
        </p:nvSpPr>
        <p:spPr>
          <a:xfrm>
            <a:off x="1049750" y="5586383"/>
            <a:ext cx="9575165" cy="398780"/>
          </a:xfrm>
          <a:prstGeom prst="rect">
            <a:avLst/>
          </a:prstGeom>
          <a:noFill/>
        </p:spPr>
        <p:txBody>
          <a:bodyPr wrap="none" rtlCol="0">
            <a:spAutoFit/>
          </a:bodyPr>
          <a:lstStyle/>
          <a:p>
            <a:r>
              <a:rPr lang="zh-CN" altLang="en-US" sz="2000" dirty="0" smtClean="0"/>
              <a:t>注</a:t>
            </a:r>
            <a:r>
              <a:rPr lang="en-US" altLang="zh-CN" sz="2000" dirty="0" smtClean="0"/>
              <a:t>: </a:t>
            </a:r>
            <a:r>
              <a:rPr lang="zh-CN" altLang="en-US" sz="2000" dirty="0"/>
              <a:t>作</a:t>
            </a:r>
            <a:r>
              <a:rPr lang="zh-CN" altLang="en-US" sz="2000" dirty="0" smtClean="0"/>
              <a:t>业会在潭州客户端发布</a:t>
            </a:r>
            <a:r>
              <a:rPr lang="en-US" altLang="zh-CN" sz="2000" dirty="0" smtClean="0"/>
              <a:t>,</a:t>
            </a:r>
            <a:r>
              <a:rPr lang="zh-CN" altLang="en-US" sz="2000" dirty="0" smtClean="0"/>
              <a:t>大家讲自己的作业截图提交到潭州客户端的作业系统上</a:t>
            </a:r>
            <a:r>
              <a:rPr lang="en-US" altLang="zh-CN" sz="2000" dirty="0" smtClean="0"/>
              <a:t>.</a:t>
            </a:r>
            <a:endParaRPr lang="zh-CN" altLang="en-US" sz="2000" dirty="0"/>
          </a:p>
        </p:txBody>
      </p:sp>
    </p:spTree>
    <p:custDataLst>
      <p:tags r:id="rId9"/>
    </p:custDataLst>
  </p:cSld>
  <p:clrMapOvr>
    <a:masterClrMapping/>
  </p:clrMapOvr>
  <p:transition spd="slow" advClick="0" advTm="3000">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randombar(horizontal)">
                                      <p:cBhvr>
                                        <p:cTn id="7" dur="500"/>
                                        <p:tgtEl>
                                          <p:spTgt spid="5"/>
                                        </p:tgtEl>
                                      </p:cBhvr>
                                    </p:animEffect>
                                  </p:childTnLst>
                                </p:cTn>
                              </p:par>
                            </p:childTnLst>
                          </p:cTn>
                        </p:par>
                        <p:par>
                          <p:cTn id="8" fill="hold">
                            <p:stCondLst>
                              <p:cond delay="500"/>
                            </p:stCondLst>
                            <p:childTnLst>
                              <p:par>
                                <p:cTn id="9" presetID="12" presetClass="entr" presetSubtype="1"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slide(fromTop)">
                                      <p:cBhvr>
                                        <p:cTn id="11" dur="500"/>
                                        <p:tgtEl>
                                          <p:spTgt spid="6"/>
                                        </p:tgtEl>
                                      </p:cBhvr>
                                    </p:animEffect>
                                  </p:childTnLst>
                                </p:cTn>
                              </p:par>
                            </p:childTnLst>
                          </p:cTn>
                        </p:par>
                        <p:par>
                          <p:cTn id="12" fill="hold">
                            <p:stCondLst>
                              <p:cond delay="1000"/>
                            </p:stCondLst>
                            <p:childTnLst>
                              <p:par>
                                <p:cTn id="13" presetID="37" presetClass="entr" presetSubtype="0" fill="hold" grpId="0" nodeType="after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1000"/>
                                        <p:tgtEl>
                                          <p:spTgt spid="7"/>
                                        </p:tgtEl>
                                      </p:cBhvr>
                                    </p:animEffect>
                                    <p:anim calcmode="lin" valueType="num">
                                      <p:cBhvr>
                                        <p:cTn id="16" dur="1000" fill="hold"/>
                                        <p:tgtEl>
                                          <p:spTgt spid="7"/>
                                        </p:tgtEl>
                                        <p:attrNameLst>
                                          <p:attrName>ppt_x</p:attrName>
                                        </p:attrNameLst>
                                      </p:cBhvr>
                                      <p:tavLst>
                                        <p:tav tm="0">
                                          <p:val>
                                            <p:strVal val="#ppt_x"/>
                                          </p:val>
                                        </p:tav>
                                        <p:tav tm="100000">
                                          <p:val>
                                            <p:strVal val="#ppt_x"/>
                                          </p:val>
                                        </p:tav>
                                      </p:tavLst>
                                    </p:anim>
                                    <p:anim calcmode="lin" valueType="num">
                                      <p:cBhvr>
                                        <p:cTn id="17" dur="900" decel="100000" fill="hold"/>
                                        <p:tgtEl>
                                          <p:spTgt spid="7"/>
                                        </p:tgtEl>
                                        <p:attrNameLst>
                                          <p:attrName>ppt_y</p:attrName>
                                        </p:attrNameLst>
                                      </p:cBhvr>
                                      <p:tavLst>
                                        <p:tav tm="0">
                                          <p:val>
                                            <p:strVal val="#ppt_y+1"/>
                                          </p:val>
                                        </p:tav>
                                        <p:tav tm="100000">
                                          <p:val>
                                            <p:strVal val="#ppt_y-.03"/>
                                          </p:val>
                                        </p:tav>
                                      </p:tavLst>
                                    </p:anim>
                                    <p:anim calcmode="lin" valueType="num">
                                      <p:cBhvr>
                                        <p:cTn id="18" dur="100" accel="100000" fill="hold">
                                          <p:stCondLst>
                                            <p:cond delay="900"/>
                                          </p:stCondLst>
                                        </p:cTn>
                                        <p:tgtEl>
                                          <p:spTgt spid="7"/>
                                        </p:tgtEl>
                                        <p:attrNameLst>
                                          <p:attrName>ppt_y</p:attrName>
                                        </p:attrNameLst>
                                      </p:cBhvr>
                                      <p:tavLst>
                                        <p:tav tm="0">
                                          <p:val>
                                            <p:strVal val="#ppt_y-.03"/>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ldLvl="0" animBg="1"/>
      <p:bldP spid="7" grpId="0" bldLvl="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p:cNvPicPr>
            <a:picLocks noChangeAspect="1"/>
          </p:cNvPicPr>
          <p:nvPr/>
        </p:nvPicPr>
        <p:blipFill rotWithShape="1">
          <a:blip r:embed="rId1"/>
          <a:srcRect l="31501" t="25179" r="7311" b="49953"/>
          <a:stretch>
            <a:fillRect/>
          </a:stretch>
        </p:blipFill>
        <p:spPr>
          <a:xfrm>
            <a:off x="4965527" y="0"/>
            <a:ext cx="7226473" cy="1524000"/>
          </a:xfrm>
          <a:prstGeom prst="rect">
            <a:avLst/>
          </a:prstGeom>
        </p:spPr>
      </p:pic>
      <p:pic>
        <p:nvPicPr>
          <p:cNvPr id="4" name="图片 3"/>
          <p:cNvPicPr>
            <a:picLocks noChangeAspect="1"/>
          </p:cNvPicPr>
          <p:nvPr/>
        </p:nvPicPr>
        <p:blipFill rotWithShape="1">
          <a:blip r:embed="rId1"/>
          <a:srcRect l="31501" t="24557" r="7311" b="49953"/>
          <a:stretch>
            <a:fillRect/>
          </a:stretch>
        </p:blipFill>
        <p:spPr>
          <a:xfrm flipH="1">
            <a:off x="-1" y="5295900"/>
            <a:ext cx="7226473" cy="1562100"/>
          </a:xfrm>
          <a:prstGeom prst="rect">
            <a:avLst/>
          </a:prstGeom>
        </p:spPr>
      </p:pic>
      <p:sp>
        <p:nvSpPr>
          <p:cNvPr id="5" name="文本框 4"/>
          <p:cNvSpPr txBox="1"/>
          <p:nvPr/>
        </p:nvSpPr>
        <p:spPr>
          <a:xfrm>
            <a:off x="1647825" y="2828836"/>
            <a:ext cx="8896350" cy="1200329"/>
          </a:xfrm>
          <a:prstGeom prst="rect">
            <a:avLst/>
          </a:prstGeom>
          <a:noFill/>
        </p:spPr>
        <p:txBody>
          <a:bodyPr wrap="square" rtlCol="0">
            <a:spAutoFit/>
          </a:bodyPr>
          <a:lstStyle/>
          <a:p>
            <a:pPr algn="ctr"/>
            <a:r>
              <a:rPr lang="en-US" altLang="zh-CN" sz="7200" dirty="0">
                <a:solidFill>
                  <a:schemeClr val="accent1"/>
                </a:solidFill>
                <a:latin typeface="Segoe Print" panose="02000600000000000000" charset="0"/>
                <a:cs typeface="Segoe Print" panose="02000600000000000000" charset="0"/>
              </a:rPr>
              <a:t>THANK </a:t>
            </a:r>
            <a:r>
              <a:rPr lang="en-US" altLang="zh-CN" sz="7200" dirty="0">
                <a:solidFill>
                  <a:schemeClr val="accent2"/>
                </a:solidFill>
                <a:latin typeface="Segoe Print" panose="02000600000000000000" charset="0"/>
                <a:cs typeface="Segoe Print" panose="02000600000000000000" charset="0"/>
              </a:rPr>
              <a:t>YOU!</a:t>
            </a:r>
            <a:endParaRPr lang="zh-CN" altLang="en-US" sz="7200" dirty="0">
              <a:solidFill>
                <a:schemeClr val="accent2"/>
              </a:solidFill>
              <a:latin typeface="Segoe Print" panose="02000600000000000000" charset="0"/>
              <a:cs typeface="Segoe Print" panose="02000600000000000000" charset="0"/>
            </a:endParaRPr>
          </a:p>
        </p:txBody>
      </p:sp>
      <p:pic>
        <p:nvPicPr>
          <p:cNvPr id="2" name="图片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0262" y="6343311"/>
            <a:ext cx="1380565" cy="514787"/>
          </a:xfrm>
          <a:prstGeom prst="rect">
            <a:avLst/>
          </a:prstGeom>
        </p:spPr>
      </p:pic>
    </p:spTree>
  </p:cSld>
  <p:clrMapOvr>
    <a:masterClrMapping/>
  </p:clrMapOvr>
  <p:transition spd="slow" advClick="0" advTm="3000">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randombar(horizontal)">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组合 18"/>
          <p:cNvGrpSpPr/>
          <p:nvPr/>
        </p:nvGrpSpPr>
        <p:grpSpPr>
          <a:xfrm>
            <a:off x="5138574" y="2427099"/>
            <a:ext cx="5758026" cy="646331"/>
            <a:chOff x="5138574" y="2427099"/>
            <a:chExt cx="5758026" cy="646331"/>
          </a:xfrm>
        </p:grpSpPr>
        <p:sp>
          <p:nvSpPr>
            <p:cNvPr id="9" name="文本框 11"/>
            <p:cNvSpPr txBox="1"/>
            <p:nvPr/>
          </p:nvSpPr>
          <p:spPr>
            <a:xfrm>
              <a:off x="5138574" y="2427099"/>
              <a:ext cx="697627" cy="646331"/>
            </a:xfrm>
            <a:prstGeom prst="rect">
              <a:avLst/>
            </a:prstGeom>
            <a:solidFill>
              <a:schemeClr val="accent1"/>
            </a:solidFill>
            <a:ln>
              <a:solidFill>
                <a:schemeClr val="accent1"/>
              </a:solidFill>
            </a:ln>
          </p:spPr>
          <p:txBody>
            <a:bodyPr wrap="none" rtlCol="0" anchor="ct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zh-CN" sz="3600" dirty="0">
                  <a:solidFill>
                    <a:schemeClr val="bg1"/>
                  </a:solidFill>
                  <a:latin typeface="Arial" panose="020B0604020202020204" pitchFamily="34" charset="0"/>
                  <a:ea typeface="宋体" panose="02010600030101010101" pitchFamily="2" charset="-122"/>
                  <a:cs typeface="Arial" panose="020B0604020202020204" pitchFamily="34" charset="0"/>
                </a:rPr>
                <a:t>01</a:t>
              </a:r>
              <a:endParaRPr lang="zh-CN" altLang="en-US" sz="3600" dirty="0">
                <a:solidFill>
                  <a:schemeClr val="bg1"/>
                </a:solidFill>
                <a:latin typeface="Arial" panose="020B0604020202020204" pitchFamily="34" charset="0"/>
                <a:ea typeface="宋体" panose="02010600030101010101" pitchFamily="2" charset="-122"/>
                <a:cs typeface="Arial" panose="020B0604020202020204" pitchFamily="34" charset="0"/>
              </a:endParaRPr>
            </a:p>
          </p:txBody>
        </p:sp>
        <p:sp>
          <p:nvSpPr>
            <p:cNvPr id="10" name="矩形 9"/>
            <p:cNvSpPr/>
            <p:nvPr/>
          </p:nvSpPr>
          <p:spPr>
            <a:xfrm>
              <a:off x="6165467" y="2427099"/>
              <a:ext cx="4731133" cy="64633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zh-CN" altLang="en-US" sz="2400" b="1" dirty="0">
                  <a:solidFill>
                    <a:schemeClr val="accent1"/>
                  </a:solidFill>
                  <a:latin typeface="Arial" panose="020B0604020202020204" pitchFamily="34" charset="0"/>
                  <a:ea typeface="微软雅黑" panose="020B0503020204020204" pitchFamily="34" charset="-122"/>
                  <a:cs typeface="Arial" panose="020B0604020202020204" pitchFamily="34" charset="0"/>
                </a:rPr>
                <a:t>中间件</a:t>
              </a:r>
              <a:endParaRPr lang="zh-CN" altLang="en-US" sz="2400" b="1" dirty="0">
                <a:solidFill>
                  <a:schemeClr val="accent1"/>
                </a:solidFill>
                <a:latin typeface="Arial" panose="020B0604020202020204" pitchFamily="34" charset="0"/>
                <a:ea typeface="微软雅黑" panose="020B0503020204020204" pitchFamily="34" charset="-122"/>
                <a:cs typeface="Arial" panose="020B0604020202020204" pitchFamily="34" charset="0"/>
              </a:endParaRPr>
            </a:p>
          </p:txBody>
        </p:sp>
      </p:grpSp>
      <p:grpSp>
        <p:nvGrpSpPr>
          <p:cNvPr id="3" name="组合 2"/>
          <p:cNvGrpSpPr/>
          <p:nvPr/>
        </p:nvGrpSpPr>
        <p:grpSpPr>
          <a:xfrm>
            <a:off x="5138574" y="4410879"/>
            <a:ext cx="5758026" cy="646331"/>
            <a:chOff x="5138574" y="4512479"/>
            <a:chExt cx="5758026" cy="646331"/>
          </a:xfrm>
        </p:grpSpPr>
        <p:sp>
          <p:nvSpPr>
            <p:cNvPr id="12" name="文本框 11"/>
            <p:cNvSpPr txBox="1"/>
            <p:nvPr/>
          </p:nvSpPr>
          <p:spPr>
            <a:xfrm>
              <a:off x="5138574" y="4512479"/>
              <a:ext cx="697627" cy="646331"/>
            </a:xfrm>
            <a:prstGeom prst="rect">
              <a:avLst/>
            </a:prstGeom>
            <a:solidFill>
              <a:schemeClr val="accent1"/>
            </a:solidFill>
            <a:ln>
              <a:solidFill>
                <a:schemeClr val="accent1"/>
              </a:solidFill>
            </a:ln>
          </p:spPr>
          <p:txBody>
            <a:bodyPr wrap="none" rtlCol="0" anchor="ct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zh-CN" sz="3600" dirty="0">
                  <a:solidFill>
                    <a:schemeClr val="bg1"/>
                  </a:solidFill>
                  <a:latin typeface="Arial" panose="020B0604020202020204" pitchFamily="34" charset="0"/>
                  <a:ea typeface="宋体" panose="02010600030101010101" pitchFamily="2" charset="-122"/>
                  <a:cs typeface="Arial" panose="020B0604020202020204" pitchFamily="34" charset="0"/>
                </a:rPr>
                <a:t>03</a:t>
              </a:r>
              <a:endParaRPr lang="zh-CN" altLang="en-US" sz="3600" dirty="0">
                <a:solidFill>
                  <a:schemeClr val="bg1"/>
                </a:solidFill>
                <a:latin typeface="Arial" panose="020B0604020202020204" pitchFamily="34" charset="0"/>
                <a:ea typeface="宋体" panose="02010600030101010101" pitchFamily="2" charset="-122"/>
                <a:cs typeface="Arial" panose="020B0604020202020204" pitchFamily="34" charset="0"/>
              </a:endParaRPr>
            </a:p>
          </p:txBody>
        </p:sp>
        <p:sp>
          <p:nvSpPr>
            <p:cNvPr id="13" name="矩形 12"/>
            <p:cNvSpPr/>
            <p:nvPr/>
          </p:nvSpPr>
          <p:spPr>
            <a:xfrm>
              <a:off x="6165467" y="4512479"/>
              <a:ext cx="4731133" cy="64633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ltLang="zh-CN" sz="2400" b="1" dirty="0">
                  <a:solidFill>
                    <a:schemeClr val="accent1"/>
                  </a:solidFill>
                  <a:latin typeface="Arial" panose="020B0604020202020204" pitchFamily="34" charset="0"/>
                  <a:ea typeface="微软雅黑" panose="020B0503020204020204" pitchFamily="34" charset="-122"/>
                  <a:cs typeface="Arial" panose="020B0604020202020204" pitchFamily="34" charset="0"/>
                </a:rPr>
                <a:t>admin</a:t>
              </a:r>
              <a:r>
                <a:rPr lang="zh-CN" altLang="en-US" sz="2400" b="1" dirty="0">
                  <a:solidFill>
                    <a:schemeClr val="accent1"/>
                  </a:solidFill>
                  <a:latin typeface="Arial" panose="020B0604020202020204" pitchFamily="34" charset="0"/>
                  <a:ea typeface="微软雅黑" panose="020B0503020204020204" pitchFamily="34" charset="-122"/>
                  <a:cs typeface="Arial" panose="020B0604020202020204" pitchFamily="34" charset="0"/>
                </a:rPr>
                <a:t>后台</a:t>
              </a:r>
              <a:endParaRPr lang="zh-CN" altLang="en-US" sz="2400" b="1" dirty="0">
                <a:solidFill>
                  <a:schemeClr val="accent1"/>
                </a:solidFill>
                <a:latin typeface="Arial" panose="020B0604020202020204" pitchFamily="34" charset="0"/>
                <a:ea typeface="微软雅黑" panose="020B0503020204020204" pitchFamily="34" charset="-122"/>
                <a:cs typeface="Arial" panose="020B0604020202020204" pitchFamily="34" charset="0"/>
              </a:endParaRPr>
            </a:p>
          </p:txBody>
        </p:sp>
      </p:grpSp>
      <p:pic>
        <p:nvPicPr>
          <p:cNvPr id="18" name="图片 17"/>
          <p:cNvPicPr>
            <a:picLocks noChangeAspect="1"/>
          </p:cNvPicPr>
          <p:nvPr/>
        </p:nvPicPr>
        <p:blipFill rotWithShape="1">
          <a:blip r:embed="rId1"/>
          <a:srcRect l="41221" r="36750"/>
          <a:stretch>
            <a:fillRect/>
          </a:stretch>
        </p:blipFill>
        <p:spPr>
          <a:xfrm flipH="1">
            <a:off x="92075" y="0"/>
            <a:ext cx="2746344" cy="6858000"/>
          </a:xfrm>
          <a:prstGeom prst="rect">
            <a:avLst/>
          </a:prstGeom>
        </p:spPr>
      </p:pic>
      <p:pic>
        <p:nvPicPr>
          <p:cNvPr id="5" name="图片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0262" y="6343311"/>
            <a:ext cx="1380565" cy="514787"/>
          </a:xfrm>
          <a:prstGeom prst="rect">
            <a:avLst/>
          </a:prstGeom>
        </p:spPr>
      </p:pic>
      <p:grpSp>
        <p:nvGrpSpPr>
          <p:cNvPr id="2" name="组合 1"/>
          <p:cNvGrpSpPr/>
          <p:nvPr/>
        </p:nvGrpSpPr>
        <p:grpSpPr>
          <a:xfrm>
            <a:off x="5138575" y="3418989"/>
            <a:ext cx="5758029" cy="646331"/>
            <a:chOff x="5138575" y="3469789"/>
            <a:chExt cx="5758029" cy="646331"/>
          </a:xfrm>
        </p:grpSpPr>
        <p:sp>
          <p:nvSpPr>
            <p:cNvPr id="6" name="文本框 14"/>
            <p:cNvSpPr txBox="1"/>
            <p:nvPr/>
          </p:nvSpPr>
          <p:spPr>
            <a:xfrm>
              <a:off x="5138575" y="3469789"/>
              <a:ext cx="697627" cy="646331"/>
            </a:xfrm>
            <a:prstGeom prst="rect">
              <a:avLst/>
            </a:prstGeom>
            <a:solidFill>
              <a:schemeClr val="accent2"/>
            </a:solidFill>
            <a:ln>
              <a:solidFill>
                <a:schemeClr val="accent2"/>
              </a:solidFill>
            </a:ln>
          </p:spPr>
          <p:txBody>
            <a:bodyPr wrap="none" rtlCol="0" anchor="ct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zh-CN" sz="3600" dirty="0">
                  <a:solidFill>
                    <a:schemeClr val="bg1"/>
                  </a:solidFill>
                  <a:latin typeface="Arial" panose="020B0604020202020204" pitchFamily="34" charset="0"/>
                  <a:ea typeface="宋体" panose="02010600030101010101" pitchFamily="2" charset="-122"/>
                  <a:cs typeface="Arial" panose="020B0604020202020204" pitchFamily="34" charset="0"/>
                </a:rPr>
                <a:t>02</a:t>
              </a:r>
              <a:endParaRPr lang="zh-CN" altLang="en-US" sz="3600" dirty="0">
                <a:solidFill>
                  <a:schemeClr val="bg1"/>
                </a:solidFill>
                <a:latin typeface="Arial" panose="020B0604020202020204" pitchFamily="34" charset="0"/>
                <a:ea typeface="宋体" panose="02010600030101010101" pitchFamily="2" charset="-122"/>
                <a:cs typeface="Arial" panose="020B0604020202020204" pitchFamily="34" charset="0"/>
              </a:endParaRPr>
            </a:p>
          </p:txBody>
        </p:sp>
        <p:sp>
          <p:nvSpPr>
            <p:cNvPr id="11" name="矩形 10"/>
            <p:cNvSpPr/>
            <p:nvPr/>
          </p:nvSpPr>
          <p:spPr>
            <a:xfrm>
              <a:off x="6165469" y="3469789"/>
              <a:ext cx="4731135" cy="646331"/>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zh-CN" altLang="en-US" sz="2400" b="1" dirty="0">
                  <a:solidFill>
                    <a:schemeClr val="accent2"/>
                  </a:solidFill>
                  <a:latin typeface="Arial" panose="020B0604020202020204" pitchFamily="34" charset="0"/>
                  <a:ea typeface="微软雅黑" panose="020B0503020204020204" pitchFamily="34" charset="-122"/>
                  <a:cs typeface="Arial" panose="020B0604020202020204" pitchFamily="34" charset="0"/>
                </a:rPr>
                <a:t>上下文处理器</a:t>
              </a:r>
              <a:endParaRPr lang="zh-CN" altLang="en-US" sz="2400" b="1" dirty="0">
                <a:solidFill>
                  <a:schemeClr val="accent2"/>
                </a:solidFill>
                <a:latin typeface="Arial" panose="020B0604020202020204" pitchFamily="34" charset="0"/>
                <a:ea typeface="微软雅黑" panose="020B0503020204020204" pitchFamily="34" charset="-122"/>
                <a:cs typeface="Arial" panose="020B0604020202020204" pitchFamily="34" charset="0"/>
              </a:endParaRPr>
            </a:p>
          </p:txBody>
        </p:sp>
      </p:grpSp>
      <p:sp>
        <p:nvSpPr>
          <p:cNvPr id="7" name="文本框 9"/>
          <p:cNvSpPr txBox="1"/>
          <p:nvPr/>
        </p:nvSpPr>
        <p:spPr>
          <a:xfrm>
            <a:off x="2314079" y="754936"/>
            <a:ext cx="4121150" cy="1014730"/>
          </a:xfrm>
          <a:prstGeom prst="rect">
            <a:avLst/>
          </a:prstGeom>
          <a:noFill/>
        </p:spPr>
        <p:txBody>
          <a:bodyPr wrap="non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6000" dirty="0">
                <a:solidFill>
                  <a:schemeClr val="accent2"/>
                </a:solidFill>
                <a:latin typeface="Yu Gothic UI Semibold" panose="020B0700000000000000" charset="-128"/>
              </a:rPr>
              <a:t>django</a:t>
            </a:r>
            <a:r>
              <a:rPr lang="zh-CN" altLang="en-US" sz="6000" dirty="0">
                <a:solidFill>
                  <a:schemeClr val="accent2"/>
                </a:solidFill>
                <a:latin typeface="Yu Gothic UI Semibold" panose="020B0700000000000000" charset="-128"/>
              </a:rPr>
              <a:t>框架</a:t>
            </a:r>
            <a:endParaRPr lang="zh-CN" altLang="en-US" sz="6000" dirty="0">
              <a:solidFill>
                <a:schemeClr val="accent2"/>
              </a:solidFill>
              <a:latin typeface="Yu Gothic UI Semibold" panose="020B0700000000000000" charset="-128"/>
            </a:endParaRPr>
          </a:p>
        </p:txBody>
      </p:sp>
    </p:spTree>
  </p:cSld>
  <p:clrMapOvr>
    <a:masterClrMapping/>
  </p:clrMapOvr>
  <p:transition spd="slow" advClick="0" advTm="3000">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randombar(horizontal)">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MH_Title_1"/>
          <p:cNvSpPr/>
          <p:nvPr>
            <p:custDataLst>
              <p:tags r:id="rId1"/>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25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2"/>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Yu Gothic UI Semibold" panose="020B0700000000000000" charset="-128"/>
              <a:ea typeface="Yu Gothic UI Semibold" panose="020B0700000000000000" charset="-128"/>
            </a:endParaRPr>
          </a:p>
        </p:txBody>
      </p:sp>
      <p:sp>
        <p:nvSpPr>
          <p:cNvPr id="20" name="MH_Other_2"/>
          <p:cNvSpPr/>
          <p:nvPr>
            <p:custDataLst>
              <p:tags r:id="rId3"/>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Yu Gothic UI Semibold" panose="020B0700000000000000" charset="-128"/>
              <a:ea typeface="Yu Gothic UI Semibold" panose="020B0700000000000000" charset="-128"/>
            </a:endParaRPr>
          </a:p>
        </p:txBody>
      </p:sp>
      <p:sp>
        <p:nvSpPr>
          <p:cNvPr id="21" name="MH_Other_3"/>
          <p:cNvSpPr/>
          <p:nvPr>
            <p:custDataLst>
              <p:tags r:id="rId4"/>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Yu Gothic UI Semibold" panose="020B0700000000000000" charset="-128"/>
              <a:ea typeface="Yu Gothic UI Semibold" panose="020B0700000000000000" charset="-128"/>
            </a:endParaRPr>
          </a:p>
        </p:txBody>
      </p:sp>
      <p:sp>
        <p:nvSpPr>
          <p:cNvPr id="22" name="MH_Other_4"/>
          <p:cNvSpPr/>
          <p:nvPr>
            <p:custDataLst>
              <p:tags r:id="rId5"/>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Yu Gothic UI Semibold" panose="020B0700000000000000" charset="-128"/>
              <a:ea typeface="Yu Gothic UI Semibold" panose="020B0700000000000000" charset="-128"/>
            </a:endParaRPr>
          </a:p>
        </p:txBody>
      </p:sp>
      <p:sp>
        <p:nvSpPr>
          <p:cNvPr id="4" name="标题 3"/>
          <p:cNvSpPr>
            <a:spLocks noGrp="1"/>
          </p:cNvSpPr>
          <p:nvPr>
            <p:ph type="title"/>
          </p:nvPr>
        </p:nvSpPr>
        <p:spPr>
          <a:xfrm>
            <a:off x="580390" y="223871"/>
            <a:ext cx="11239500" cy="968375"/>
          </a:xfrm>
        </p:spPr>
        <p:txBody>
          <a:bodyPr/>
          <a:lstStyle/>
          <a:p>
            <a:r>
              <a:rPr lang="zh-CN" altLang="en-US" dirty="0"/>
              <a:t>中间件的引入</a:t>
            </a:r>
            <a:r>
              <a:rPr lang="en-US" altLang="zh-CN" dirty="0"/>
              <a:t>:</a:t>
            </a:r>
            <a:endParaRPr lang="en-US" altLang="zh-CN" dirty="0"/>
          </a:p>
        </p:txBody>
      </p:sp>
      <p:sp>
        <p:nvSpPr>
          <p:cNvPr id="3" name="同侧圆角矩形 2"/>
          <p:cNvSpPr/>
          <p:nvPr/>
        </p:nvSpPr>
        <p:spPr>
          <a:xfrm>
            <a:off x="1315085" y="2305050"/>
            <a:ext cx="1040765" cy="2618740"/>
          </a:xfrm>
          <a:prstGeom prst="round2SameRect">
            <a:avLst/>
          </a:prstGeom>
          <a:solidFill>
            <a:srgbClr val="3F536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a:t>用户</a:t>
            </a:r>
            <a:endParaRPr lang="zh-CN" altLang="en-US" b="1"/>
          </a:p>
        </p:txBody>
      </p:sp>
      <p:sp>
        <p:nvSpPr>
          <p:cNvPr id="6" name="同侧圆角矩形 5"/>
          <p:cNvSpPr/>
          <p:nvPr/>
        </p:nvSpPr>
        <p:spPr>
          <a:xfrm>
            <a:off x="8648700" y="2291715"/>
            <a:ext cx="1111250" cy="2618105"/>
          </a:xfrm>
          <a:prstGeom prst="round2SameRect">
            <a:avLst/>
          </a:prstGeom>
          <a:solidFill>
            <a:srgbClr val="5BA78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a:t>视图层</a:t>
            </a:r>
            <a:endParaRPr lang="en-US" altLang="zh-CN" b="1"/>
          </a:p>
        </p:txBody>
      </p:sp>
      <p:sp>
        <p:nvSpPr>
          <p:cNvPr id="5" name="同侧圆角矩形 4"/>
          <p:cNvSpPr/>
          <p:nvPr/>
        </p:nvSpPr>
        <p:spPr>
          <a:xfrm>
            <a:off x="8042275" y="2291080"/>
            <a:ext cx="606425" cy="2618740"/>
          </a:xfrm>
          <a:prstGeom prst="round2SameRect">
            <a:avLst/>
          </a:prstGeom>
          <a:solidFill>
            <a:srgbClr val="5BA78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a:t>urls</a:t>
            </a:r>
            <a:endParaRPr lang="en-US" altLang="zh-CN" b="1"/>
          </a:p>
        </p:txBody>
      </p:sp>
      <p:sp>
        <p:nvSpPr>
          <p:cNvPr id="135" name=" 135"/>
          <p:cNvSpPr/>
          <p:nvPr/>
        </p:nvSpPr>
        <p:spPr>
          <a:xfrm>
            <a:off x="6016625" y="2817495"/>
            <a:ext cx="1626870" cy="487045"/>
          </a:xfrm>
          <a:custGeom>
            <a:avLst/>
            <a:gdLst>
              <a:gd name="connsiteX0" fmla="*/ 4381875 w 6516714"/>
              <a:gd name="connsiteY0" fmla="*/ 0 h 2476413"/>
              <a:gd name="connsiteX1" fmla="*/ 6516714 w 6516714"/>
              <a:gd name="connsiteY1" fmla="*/ 1238208 h 2476413"/>
              <a:gd name="connsiteX2" fmla="*/ 4381875 w 6516714"/>
              <a:gd name="connsiteY2" fmla="*/ 2476413 h 2476413"/>
              <a:gd name="connsiteX3" fmla="*/ 4381875 w 6516714"/>
              <a:gd name="connsiteY3" fmla="*/ 2456682 h 2476413"/>
              <a:gd name="connsiteX4" fmla="*/ 4855462 w 6516714"/>
              <a:gd name="connsiteY4" fmla="*/ 1644997 h 2476413"/>
              <a:gd name="connsiteX5" fmla="*/ 0 w 6516714"/>
              <a:gd name="connsiteY5" fmla="*/ 1238206 h 2476413"/>
              <a:gd name="connsiteX6" fmla="*/ 4855461 w 6516714"/>
              <a:gd name="connsiteY6" fmla="*/ 831415 h 2476413"/>
              <a:gd name="connsiteX7" fmla="*/ 4381875 w 6516714"/>
              <a:gd name="connsiteY7" fmla="*/ 19731 h 2476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16714" h="2476413">
                <a:moveTo>
                  <a:pt x="4381875" y="0"/>
                </a:moveTo>
                <a:lnTo>
                  <a:pt x="6516714" y="1238208"/>
                </a:lnTo>
                <a:lnTo>
                  <a:pt x="4381875" y="2476413"/>
                </a:lnTo>
                <a:lnTo>
                  <a:pt x="4381875" y="2456682"/>
                </a:lnTo>
                <a:lnTo>
                  <a:pt x="4855462" y="1644997"/>
                </a:lnTo>
                <a:lnTo>
                  <a:pt x="0" y="1238206"/>
                </a:lnTo>
                <a:lnTo>
                  <a:pt x="4855461" y="831415"/>
                </a:lnTo>
                <a:lnTo>
                  <a:pt x="4381875" y="19731"/>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scene3d>
              <a:camera prst="orthographicFront"/>
              <a:lightRig rig="threePt" dir="t"/>
            </a:scene3d>
            <a:sp3d>
              <a:contourClr>
                <a:srgbClr val="FFFFFF"/>
              </a:contourClr>
            </a:sp3d>
          </a:bodyP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endParaRPr lang="zh-CN" altLang="en-US">
              <a:solidFill>
                <a:srgbClr val="FFFFFF"/>
              </a:solidFill>
            </a:endParaRPr>
          </a:p>
        </p:txBody>
      </p:sp>
      <p:sp>
        <p:nvSpPr>
          <p:cNvPr id="8" name=" 135"/>
          <p:cNvSpPr/>
          <p:nvPr/>
        </p:nvSpPr>
        <p:spPr>
          <a:xfrm flipH="1">
            <a:off x="6079490" y="4054475"/>
            <a:ext cx="1564005" cy="487045"/>
          </a:xfrm>
          <a:custGeom>
            <a:avLst/>
            <a:gdLst>
              <a:gd name="connsiteX0" fmla="*/ 4381875 w 6516714"/>
              <a:gd name="connsiteY0" fmla="*/ 0 h 2476413"/>
              <a:gd name="connsiteX1" fmla="*/ 6516714 w 6516714"/>
              <a:gd name="connsiteY1" fmla="*/ 1238208 h 2476413"/>
              <a:gd name="connsiteX2" fmla="*/ 4381875 w 6516714"/>
              <a:gd name="connsiteY2" fmla="*/ 2476413 h 2476413"/>
              <a:gd name="connsiteX3" fmla="*/ 4381875 w 6516714"/>
              <a:gd name="connsiteY3" fmla="*/ 2456682 h 2476413"/>
              <a:gd name="connsiteX4" fmla="*/ 4855462 w 6516714"/>
              <a:gd name="connsiteY4" fmla="*/ 1644997 h 2476413"/>
              <a:gd name="connsiteX5" fmla="*/ 0 w 6516714"/>
              <a:gd name="connsiteY5" fmla="*/ 1238206 h 2476413"/>
              <a:gd name="connsiteX6" fmla="*/ 4855461 w 6516714"/>
              <a:gd name="connsiteY6" fmla="*/ 831415 h 2476413"/>
              <a:gd name="connsiteX7" fmla="*/ 4381875 w 6516714"/>
              <a:gd name="connsiteY7" fmla="*/ 19731 h 2476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16714" h="2476413">
                <a:moveTo>
                  <a:pt x="4381875" y="0"/>
                </a:moveTo>
                <a:lnTo>
                  <a:pt x="6516714" y="1238208"/>
                </a:lnTo>
                <a:lnTo>
                  <a:pt x="4381875" y="2476413"/>
                </a:lnTo>
                <a:lnTo>
                  <a:pt x="4381875" y="2456682"/>
                </a:lnTo>
                <a:lnTo>
                  <a:pt x="4855462" y="1644997"/>
                </a:lnTo>
                <a:lnTo>
                  <a:pt x="0" y="1238206"/>
                </a:lnTo>
                <a:lnTo>
                  <a:pt x="4855461" y="831415"/>
                </a:lnTo>
                <a:lnTo>
                  <a:pt x="4381875" y="19731"/>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scene3d>
              <a:camera prst="orthographicFront"/>
              <a:lightRig rig="threePt" dir="t"/>
            </a:scene3d>
            <a:sp3d>
              <a:contourClr>
                <a:srgbClr val="FFFFFF"/>
              </a:contourClr>
            </a:sp3d>
          </a:bodyP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endParaRPr lang="zh-CN" altLang="en-US">
              <a:solidFill>
                <a:srgbClr val="FFFFFF"/>
              </a:solidFill>
            </a:endParaRPr>
          </a:p>
        </p:txBody>
      </p:sp>
      <p:sp>
        <p:nvSpPr>
          <p:cNvPr id="12" name="文本框 11"/>
          <p:cNvSpPr txBox="1"/>
          <p:nvPr/>
        </p:nvSpPr>
        <p:spPr>
          <a:xfrm>
            <a:off x="6235065" y="2536190"/>
            <a:ext cx="1017270" cy="368300"/>
          </a:xfrm>
          <a:prstGeom prst="rect">
            <a:avLst/>
          </a:prstGeom>
          <a:solidFill>
            <a:srgbClr val="E5AB74"/>
          </a:solidFill>
        </p:spPr>
        <p:txBody>
          <a:bodyPr wrap="square" rtlCol="0">
            <a:spAutoFit/>
          </a:bodyPr>
          <a:lstStyle/>
          <a:p>
            <a:r>
              <a:rPr lang="en-US" altLang="zh-CN" dirty="0"/>
              <a:t>request</a:t>
            </a:r>
            <a:endParaRPr lang="en-US" altLang="zh-CN" dirty="0"/>
          </a:p>
        </p:txBody>
      </p:sp>
      <p:sp>
        <p:nvSpPr>
          <p:cNvPr id="13" name="文本框 12"/>
          <p:cNvSpPr txBox="1"/>
          <p:nvPr/>
        </p:nvSpPr>
        <p:spPr>
          <a:xfrm>
            <a:off x="6235065" y="4555490"/>
            <a:ext cx="1017270" cy="368300"/>
          </a:xfrm>
          <a:prstGeom prst="rect">
            <a:avLst/>
          </a:prstGeom>
          <a:solidFill>
            <a:srgbClr val="E5AB74"/>
          </a:solidFill>
        </p:spPr>
        <p:txBody>
          <a:bodyPr wrap="none" rtlCol="0">
            <a:spAutoFit/>
          </a:bodyPr>
          <a:lstStyle/>
          <a:p>
            <a:r>
              <a:rPr lang="en-US" altLang="zh-CN"/>
              <a:t>response</a:t>
            </a:r>
            <a:endParaRPr lang="en-US" altLang="zh-CN"/>
          </a:p>
        </p:txBody>
      </p:sp>
      <p:sp>
        <p:nvSpPr>
          <p:cNvPr id="16" name="矩形 15"/>
          <p:cNvSpPr/>
          <p:nvPr/>
        </p:nvSpPr>
        <p:spPr>
          <a:xfrm>
            <a:off x="4674870" y="2093595"/>
            <a:ext cx="948690" cy="2975610"/>
          </a:xfrm>
          <a:prstGeom prst="rect">
            <a:avLst/>
          </a:prstGeom>
          <a:solidFill>
            <a:schemeClr val="tx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a:t>中间件</a:t>
            </a:r>
            <a:endParaRPr lang="zh-CN" altLang="en-US"/>
          </a:p>
        </p:txBody>
      </p:sp>
      <p:sp>
        <p:nvSpPr>
          <p:cNvPr id="17" name=" 135"/>
          <p:cNvSpPr/>
          <p:nvPr/>
        </p:nvSpPr>
        <p:spPr>
          <a:xfrm>
            <a:off x="2726690" y="2817495"/>
            <a:ext cx="1714500" cy="487045"/>
          </a:xfrm>
          <a:custGeom>
            <a:avLst/>
            <a:gdLst>
              <a:gd name="connsiteX0" fmla="*/ 4381875 w 6516714"/>
              <a:gd name="connsiteY0" fmla="*/ 0 h 2476413"/>
              <a:gd name="connsiteX1" fmla="*/ 6516714 w 6516714"/>
              <a:gd name="connsiteY1" fmla="*/ 1238208 h 2476413"/>
              <a:gd name="connsiteX2" fmla="*/ 4381875 w 6516714"/>
              <a:gd name="connsiteY2" fmla="*/ 2476413 h 2476413"/>
              <a:gd name="connsiteX3" fmla="*/ 4381875 w 6516714"/>
              <a:gd name="connsiteY3" fmla="*/ 2456682 h 2476413"/>
              <a:gd name="connsiteX4" fmla="*/ 4855462 w 6516714"/>
              <a:gd name="connsiteY4" fmla="*/ 1644997 h 2476413"/>
              <a:gd name="connsiteX5" fmla="*/ 0 w 6516714"/>
              <a:gd name="connsiteY5" fmla="*/ 1238206 h 2476413"/>
              <a:gd name="connsiteX6" fmla="*/ 4855461 w 6516714"/>
              <a:gd name="connsiteY6" fmla="*/ 831415 h 2476413"/>
              <a:gd name="connsiteX7" fmla="*/ 4381875 w 6516714"/>
              <a:gd name="connsiteY7" fmla="*/ 19731 h 2476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16714" h="2476413">
                <a:moveTo>
                  <a:pt x="4381875" y="0"/>
                </a:moveTo>
                <a:lnTo>
                  <a:pt x="6516714" y="1238208"/>
                </a:lnTo>
                <a:lnTo>
                  <a:pt x="4381875" y="2476413"/>
                </a:lnTo>
                <a:lnTo>
                  <a:pt x="4381875" y="2456682"/>
                </a:lnTo>
                <a:lnTo>
                  <a:pt x="4855462" y="1644997"/>
                </a:lnTo>
                <a:lnTo>
                  <a:pt x="0" y="1238206"/>
                </a:lnTo>
                <a:lnTo>
                  <a:pt x="4855461" y="831415"/>
                </a:lnTo>
                <a:lnTo>
                  <a:pt x="4381875" y="19731"/>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scene3d>
              <a:camera prst="orthographicFront"/>
              <a:lightRig rig="threePt" dir="t"/>
            </a:scene3d>
            <a:sp3d>
              <a:contourClr>
                <a:srgbClr val="FFFFFF"/>
              </a:contourClr>
            </a:sp3d>
          </a:bodyP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endParaRPr lang="zh-CN" altLang="en-US">
              <a:solidFill>
                <a:srgbClr val="FFFFFF"/>
              </a:solidFill>
            </a:endParaRPr>
          </a:p>
        </p:txBody>
      </p:sp>
      <p:sp>
        <p:nvSpPr>
          <p:cNvPr id="23" name="文本框 22"/>
          <p:cNvSpPr txBox="1"/>
          <p:nvPr/>
        </p:nvSpPr>
        <p:spPr>
          <a:xfrm>
            <a:off x="2990849" y="2536190"/>
            <a:ext cx="1072515" cy="368300"/>
          </a:xfrm>
          <a:prstGeom prst="rect">
            <a:avLst/>
          </a:prstGeom>
          <a:solidFill>
            <a:srgbClr val="E5AB74"/>
          </a:solidFill>
        </p:spPr>
        <p:txBody>
          <a:bodyPr wrap="square" rtlCol="0">
            <a:spAutoFit/>
          </a:bodyPr>
          <a:lstStyle/>
          <a:p>
            <a:r>
              <a:rPr lang="en-US" altLang="zh-CN" dirty="0"/>
              <a:t>request</a:t>
            </a:r>
            <a:endParaRPr lang="en-US" altLang="zh-CN" dirty="0"/>
          </a:p>
        </p:txBody>
      </p:sp>
      <p:sp>
        <p:nvSpPr>
          <p:cNvPr id="24" name="文本框 23"/>
          <p:cNvSpPr txBox="1"/>
          <p:nvPr/>
        </p:nvSpPr>
        <p:spPr>
          <a:xfrm>
            <a:off x="3263900" y="4541520"/>
            <a:ext cx="1017270" cy="368300"/>
          </a:xfrm>
          <a:prstGeom prst="rect">
            <a:avLst/>
          </a:prstGeom>
          <a:solidFill>
            <a:srgbClr val="E5AB74"/>
          </a:solidFill>
        </p:spPr>
        <p:txBody>
          <a:bodyPr wrap="none" rtlCol="0">
            <a:spAutoFit/>
          </a:bodyPr>
          <a:lstStyle/>
          <a:p>
            <a:r>
              <a:rPr lang="en-US" altLang="zh-CN"/>
              <a:t>response</a:t>
            </a:r>
            <a:endParaRPr lang="en-US" altLang="zh-CN"/>
          </a:p>
        </p:txBody>
      </p:sp>
      <p:sp>
        <p:nvSpPr>
          <p:cNvPr id="25" name=" 135"/>
          <p:cNvSpPr/>
          <p:nvPr/>
        </p:nvSpPr>
        <p:spPr>
          <a:xfrm flipH="1">
            <a:off x="2990850" y="4054475"/>
            <a:ext cx="1564005" cy="487045"/>
          </a:xfrm>
          <a:custGeom>
            <a:avLst/>
            <a:gdLst>
              <a:gd name="connsiteX0" fmla="*/ 4381875 w 6516714"/>
              <a:gd name="connsiteY0" fmla="*/ 0 h 2476413"/>
              <a:gd name="connsiteX1" fmla="*/ 6516714 w 6516714"/>
              <a:gd name="connsiteY1" fmla="*/ 1238208 h 2476413"/>
              <a:gd name="connsiteX2" fmla="*/ 4381875 w 6516714"/>
              <a:gd name="connsiteY2" fmla="*/ 2476413 h 2476413"/>
              <a:gd name="connsiteX3" fmla="*/ 4381875 w 6516714"/>
              <a:gd name="connsiteY3" fmla="*/ 2456682 h 2476413"/>
              <a:gd name="connsiteX4" fmla="*/ 4855462 w 6516714"/>
              <a:gd name="connsiteY4" fmla="*/ 1644997 h 2476413"/>
              <a:gd name="connsiteX5" fmla="*/ 0 w 6516714"/>
              <a:gd name="connsiteY5" fmla="*/ 1238206 h 2476413"/>
              <a:gd name="connsiteX6" fmla="*/ 4855461 w 6516714"/>
              <a:gd name="connsiteY6" fmla="*/ 831415 h 2476413"/>
              <a:gd name="connsiteX7" fmla="*/ 4381875 w 6516714"/>
              <a:gd name="connsiteY7" fmla="*/ 19731 h 2476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16714" h="2476413">
                <a:moveTo>
                  <a:pt x="4381875" y="0"/>
                </a:moveTo>
                <a:lnTo>
                  <a:pt x="6516714" y="1238208"/>
                </a:lnTo>
                <a:lnTo>
                  <a:pt x="4381875" y="2476413"/>
                </a:lnTo>
                <a:lnTo>
                  <a:pt x="4381875" y="2456682"/>
                </a:lnTo>
                <a:lnTo>
                  <a:pt x="4855462" y="1644997"/>
                </a:lnTo>
                <a:lnTo>
                  <a:pt x="0" y="1238206"/>
                </a:lnTo>
                <a:lnTo>
                  <a:pt x="4855461" y="831415"/>
                </a:lnTo>
                <a:lnTo>
                  <a:pt x="4381875" y="19731"/>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scene3d>
              <a:camera prst="orthographicFront"/>
              <a:lightRig rig="threePt" dir="t"/>
            </a:scene3d>
            <a:sp3d>
              <a:contourClr>
                <a:srgbClr val="FFFFFF"/>
              </a:contourClr>
            </a:sp3d>
          </a:bodyP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endParaRPr lang="zh-CN" altLang="en-US">
              <a:solidFill>
                <a:srgbClr val="FFFFFF"/>
              </a:solidFill>
            </a:endParaRPr>
          </a:p>
        </p:txBody>
      </p:sp>
      <p:sp>
        <p:nvSpPr>
          <p:cNvPr id="227" name=" 227"/>
          <p:cNvSpPr/>
          <p:nvPr/>
        </p:nvSpPr>
        <p:spPr>
          <a:xfrm>
            <a:off x="4585335" y="448310"/>
            <a:ext cx="4316730" cy="1645920"/>
          </a:xfrm>
          <a:prstGeom prst="wedgeEllipseCallout">
            <a:avLst>
              <a:gd name="adj1" fmla="val -32362"/>
              <a:gd name="adj2" fmla="val 79433"/>
            </a:avLst>
          </a:prstGeom>
          <a:solidFill>
            <a:srgbClr val="E7686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l" eaLnBrk="1" fontAlgn="auto" hangingPunct="1">
              <a:spcBef>
                <a:spcPts val="0"/>
              </a:spcBef>
              <a:spcAft>
                <a:spcPts val="0"/>
              </a:spcAft>
              <a:defRPr/>
            </a:pPr>
            <a:r>
              <a:rPr lang="zh-CN" altLang="en-US" b="1" dirty="0">
                <a:solidFill>
                  <a:srgbClr val="FFFFFF"/>
                </a:solidFill>
              </a:rPr>
              <a:t>Django中间件（Middleware）</a:t>
            </a:r>
            <a:endParaRPr lang="zh-CN" altLang="en-US" b="1" dirty="0">
              <a:solidFill>
                <a:srgbClr val="FFFFFF"/>
              </a:solidFill>
            </a:endParaRPr>
          </a:p>
          <a:p>
            <a:pPr algn="l" eaLnBrk="1" fontAlgn="auto" hangingPunct="1">
              <a:spcBef>
                <a:spcPts val="0"/>
              </a:spcBef>
              <a:spcAft>
                <a:spcPts val="0"/>
              </a:spcAft>
              <a:defRPr/>
            </a:pPr>
            <a:r>
              <a:rPr lang="zh-CN" altLang="en-US" b="1" dirty="0">
                <a:solidFill>
                  <a:srgbClr val="FFFFFF"/>
                </a:solidFill>
              </a:rPr>
              <a:t>是一个轻量级、底层的“插件”系统，可以介入Django的请求和响应处理过程，修改Django的输入或输出.</a:t>
            </a:r>
            <a:endParaRPr lang="zh-CN" altLang="en-US" b="1" dirty="0">
              <a:solidFill>
                <a:srgbClr val="FFFFFF"/>
              </a:solidFill>
            </a:endParaRPr>
          </a:p>
        </p:txBody>
      </p:sp>
    </p:spTree>
    <p:custDataLst>
      <p:tags r:id="rId6"/>
    </p:custDataLst>
  </p:cSld>
  <p:clrMapOvr>
    <a:masterClrMapping/>
  </p:clrMapOvr>
  <p:transition spd="slow" advClick="0" advTm="3000">
    <p:randomBar dir="vert"/>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MH_Title_1"/>
          <p:cNvSpPr/>
          <p:nvPr>
            <p:custDataLst>
              <p:tags r:id="rId1"/>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25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2"/>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Yu Gothic UI Semibold" panose="020B0700000000000000" charset="-128"/>
              <a:ea typeface="Yu Gothic UI Semibold" panose="020B0700000000000000" charset="-128"/>
            </a:endParaRPr>
          </a:p>
        </p:txBody>
      </p:sp>
      <p:sp>
        <p:nvSpPr>
          <p:cNvPr id="20" name="MH_Other_2"/>
          <p:cNvSpPr/>
          <p:nvPr>
            <p:custDataLst>
              <p:tags r:id="rId3"/>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Yu Gothic UI Semibold" panose="020B0700000000000000" charset="-128"/>
              <a:ea typeface="Yu Gothic UI Semibold" panose="020B0700000000000000" charset="-128"/>
            </a:endParaRPr>
          </a:p>
        </p:txBody>
      </p:sp>
      <p:sp>
        <p:nvSpPr>
          <p:cNvPr id="21" name="MH_Other_3"/>
          <p:cNvSpPr/>
          <p:nvPr>
            <p:custDataLst>
              <p:tags r:id="rId4"/>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Yu Gothic UI Semibold" panose="020B0700000000000000" charset="-128"/>
              <a:ea typeface="Yu Gothic UI Semibold" panose="020B0700000000000000" charset="-128"/>
            </a:endParaRPr>
          </a:p>
        </p:txBody>
      </p:sp>
      <p:sp>
        <p:nvSpPr>
          <p:cNvPr id="22" name="MH_Other_4"/>
          <p:cNvSpPr/>
          <p:nvPr>
            <p:custDataLst>
              <p:tags r:id="rId5"/>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Yu Gothic UI Semibold" panose="020B0700000000000000" charset="-128"/>
              <a:ea typeface="Yu Gothic UI Semibold" panose="020B0700000000000000" charset="-128"/>
            </a:endParaRPr>
          </a:p>
        </p:txBody>
      </p:sp>
      <p:sp>
        <p:nvSpPr>
          <p:cNvPr id="4" name="标题 3"/>
          <p:cNvSpPr>
            <a:spLocks noGrp="1"/>
          </p:cNvSpPr>
          <p:nvPr>
            <p:ph type="title"/>
          </p:nvPr>
        </p:nvSpPr>
        <p:spPr>
          <a:xfrm>
            <a:off x="580390" y="223871"/>
            <a:ext cx="11239500" cy="968375"/>
          </a:xfrm>
        </p:spPr>
        <p:txBody>
          <a:bodyPr/>
          <a:lstStyle/>
          <a:p>
            <a:r>
              <a:rPr lang="en-US" altLang="zh-CN" dirty="0"/>
              <a:t>django</a:t>
            </a:r>
            <a:r>
              <a:rPr lang="zh-CN" altLang="en-US" dirty="0"/>
              <a:t>中的中间件</a:t>
            </a:r>
            <a:r>
              <a:rPr lang="en-US" altLang="zh-CN" dirty="0"/>
              <a:t>:</a:t>
            </a:r>
            <a:endParaRPr lang="en-US" altLang="zh-CN" dirty="0"/>
          </a:p>
        </p:txBody>
      </p:sp>
      <p:sp>
        <p:nvSpPr>
          <p:cNvPr id="17" name="圆角矩形 16"/>
          <p:cNvSpPr/>
          <p:nvPr/>
        </p:nvSpPr>
        <p:spPr>
          <a:xfrm>
            <a:off x="1443990" y="1496060"/>
            <a:ext cx="8813800" cy="2882900"/>
          </a:xfrm>
          <a:prstGeom prst="roundRect">
            <a:avLst/>
          </a:prstGeom>
          <a:solidFill>
            <a:srgbClr val="DEDDC9"/>
          </a:solidFill>
          <a:ln>
            <a:solidFill>
              <a:srgbClr val="8D86B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685165" rtl="0" eaLnBrk="1" latinLnBrk="0" hangingPunct="1">
              <a:defRPr sz="1350" kern="1200">
                <a:solidFill>
                  <a:schemeClr val="lt1"/>
                </a:solidFill>
                <a:latin typeface="+mn-lt"/>
                <a:ea typeface="+mn-ea"/>
                <a:cs typeface="+mn-cs"/>
              </a:defRPr>
            </a:lvl1pPr>
            <a:lvl2pPr marL="342900" algn="l" defTabSz="685165" rtl="0" eaLnBrk="1" latinLnBrk="0" hangingPunct="1">
              <a:defRPr sz="1350" kern="1200">
                <a:solidFill>
                  <a:schemeClr val="lt1"/>
                </a:solidFill>
                <a:latin typeface="+mn-lt"/>
                <a:ea typeface="+mn-ea"/>
                <a:cs typeface="+mn-cs"/>
              </a:defRPr>
            </a:lvl2pPr>
            <a:lvl3pPr marL="685800" algn="l" defTabSz="685165" rtl="0" eaLnBrk="1" latinLnBrk="0" hangingPunct="1">
              <a:defRPr sz="1350" kern="1200">
                <a:solidFill>
                  <a:schemeClr val="lt1"/>
                </a:solidFill>
                <a:latin typeface="+mn-lt"/>
                <a:ea typeface="+mn-ea"/>
                <a:cs typeface="+mn-cs"/>
              </a:defRPr>
            </a:lvl3pPr>
            <a:lvl4pPr marL="1028700" algn="l" defTabSz="685165" rtl="0" eaLnBrk="1" latinLnBrk="0" hangingPunct="1">
              <a:defRPr sz="1350" kern="1200">
                <a:solidFill>
                  <a:schemeClr val="lt1"/>
                </a:solidFill>
                <a:latin typeface="+mn-lt"/>
                <a:ea typeface="+mn-ea"/>
                <a:cs typeface="+mn-cs"/>
              </a:defRPr>
            </a:lvl4pPr>
            <a:lvl5pPr marL="1371600" algn="l" defTabSz="685165" rtl="0" eaLnBrk="1" latinLnBrk="0" hangingPunct="1">
              <a:defRPr sz="1350" kern="1200">
                <a:solidFill>
                  <a:schemeClr val="lt1"/>
                </a:solidFill>
                <a:latin typeface="+mn-lt"/>
                <a:ea typeface="+mn-ea"/>
                <a:cs typeface="+mn-cs"/>
              </a:defRPr>
            </a:lvl5pPr>
            <a:lvl6pPr marL="1714500" algn="l" defTabSz="685165" rtl="0" eaLnBrk="1" latinLnBrk="0" hangingPunct="1">
              <a:defRPr sz="1350" kern="1200">
                <a:solidFill>
                  <a:schemeClr val="lt1"/>
                </a:solidFill>
                <a:latin typeface="+mn-lt"/>
                <a:ea typeface="+mn-ea"/>
                <a:cs typeface="+mn-cs"/>
              </a:defRPr>
            </a:lvl6pPr>
            <a:lvl7pPr marL="2057400" algn="l" defTabSz="685165" rtl="0" eaLnBrk="1" latinLnBrk="0" hangingPunct="1">
              <a:defRPr sz="1350" kern="1200">
                <a:solidFill>
                  <a:schemeClr val="lt1"/>
                </a:solidFill>
                <a:latin typeface="+mn-lt"/>
                <a:ea typeface="+mn-ea"/>
                <a:cs typeface="+mn-cs"/>
              </a:defRPr>
            </a:lvl7pPr>
            <a:lvl8pPr marL="2400300" algn="l" defTabSz="685165" rtl="0" eaLnBrk="1" latinLnBrk="0" hangingPunct="1">
              <a:defRPr sz="1350" kern="1200">
                <a:solidFill>
                  <a:schemeClr val="lt1"/>
                </a:solidFill>
                <a:latin typeface="+mn-lt"/>
                <a:ea typeface="+mn-ea"/>
                <a:cs typeface="+mn-cs"/>
              </a:defRPr>
            </a:lvl8pPr>
            <a:lvl9pPr marL="2743200" algn="l" defTabSz="685165" rtl="0" eaLnBrk="1" latinLnBrk="0" hangingPunct="1">
              <a:defRPr sz="1350" kern="1200">
                <a:solidFill>
                  <a:schemeClr val="lt1"/>
                </a:solidFill>
                <a:latin typeface="+mn-lt"/>
                <a:ea typeface="+mn-ea"/>
                <a:cs typeface="+mn-cs"/>
              </a:defRPr>
            </a:lvl9pPr>
          </a:lstStyle>
          <a:p>
            <a:pPr algn="l" defTabSz="913765" fontAlgn="auto">
              <a:lnSpc>
                <a:spcPct val="150000"/>
              </a:lnSpc>
              <a:defRPr/>
            </a:pPr>
            <a:r>
              <a:rPr sz="2000" b="1">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django 中的中间件（middleware），在django中，中间件其实就是一个类，在请求到来和结束后，django会根据自己的规则在合适的时机执行中间件中相应的方法。</a:t>
            </a:r>
            <a:endParaRPr sz="2000" b="1">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a:p>
            <a:pPr algn="l" defTabSz="913765" fontAlgn="auto">
              <a:lnSpc>
                <a:spcPct val="150000"/>
              </a:lnSpc>
              <a:defRPr/>
            </a:pPr>
            <a:r>
              <a:rPr sz="2000" b="1">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在django项目的settings模块中，有一个 MIDDLEWARE_CLASSES 变量，其中每一个元素就是一个中间件</a:t>
            </a:r>
            <a:r>
              <a:rPr lang="en-US" sz="2000" b="1">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a:t>
            </a:r>
            <a:endParaRPr lang="en-US" sz="2000" b="1">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p:txBody>
      </p:sp>
    </p:spTree>
    <p:custDataLst>
      <p:tags r:id="rId6"/>
    </p:custDataLst>
  </p:cSld>
  <p:clrMapOvr>
    <a:masterClrMapping/>
  </p:clrMapOvr>
  <p:transition spd="slow" advClick="0" advTm="3000">
    <p:randomBar dir="vert"/>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MH_Title_1"/>
          <p:cNvSpPr/>
          <p:nvPr>
            <p:custDataLst>
              <p:tags r:id="rId1"/>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25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2"/>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Yu Gothic UI Semibold" panose="020B0700000000000000" charset="-128"/>
              <a:ea typeface="Yu Gothic UI Semibold" panose="020B0700000000000000" charset="-128"/>
            </a:endParaRPr>
          </a:p>
        </p:txBody>
      </p:sp>
      <p:sp>
        <p:nvSpPr>
          <p:cNvPr id="20" name="MH_Other_2"/>
          <p:cNvSpPr/>
          <p:nvPr>
            <p:custDataLst>
              <p:tags r:id="rId3"/>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Yu Gothic UI Semibold" panose="020B0700000000000000" charset="-128"/>
              <a:ea typeface="Yu Gothic UI Semibold" panose="020B0700000000000000" charset="-128"/>
            </a:endParaRPr>
          </a:p>
        </p:txBody>
      </p:sp>
      <p:sp>
        <p:nvSpPr>
          <p:cNvPr id="21" name="MH_Other_3"/>
          <p:cNvSpPr/>
          <p:nvPr>
            <p:custDataLst>
              <p:tags r:id="rId4"/>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Yu Gothic UI Semibold" panose="020B0700000000000000" charset="-128"/>
              <a:ea typeface="Yu Gothic UI Semibold" panose="020B0700000000000000" charset="-128"/>
            </a:endParaRPr>
          </a:p>
        </p:txBody>
      </p:sp>
      <p:sp>
        <p:nvSpPr>
          <p:cNvPr id="22" name="MH_Other_4"/>
          <p:cNvSpPr/>
          <p:nvPr>
            <p:custDataLst>
              <p:tags r:id="rId5"/>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Yu Gothic UI Semibold" panose="020B0700000000000000" charset="-128"/>
              <a:ea typeface="Yu Gothic UI Semibold" panose="020B0700000000000000" charset="-128"/>
            </a:endParaRPr>
          </a:p>
        </p:txBody>
      </p:sp>
      <p:sp>
        <p:nvSpPr>
          <p:cNvPr id="4" name="标题 3"/>
          <p:cNvSpPr>
            <a:spLocks noGrp="1"/>
          </p:cNvSpPr>
          <p:nvPr>
            <p:ph type="title"/>
          </p:nvPr>
        </p:nvSpPr>
        <p:spPr>
          <a:xfrm>
            <a:off x="580390" y="223871"/>
            <a:ext cx="11239500" cy="968375"/>
          </a:xfrm>
        </p:spPr>
        <p:txBody>
          <a:bodyPr/>
          <a:lstStyle/>
          <a:p>
            <a:r>
              <a:rPr lang="zh-CN" altLang="en-US" dirty="0"/>
              <a:t>中间件的结构</a:t>
            </a:r>
            <a:r>
              <a:rPr lang="en-US" altLang="zh-CN" dirty="0"/>
              <a:t>:</a:t>
            </a:r>
            <a:endParaRPr lang="en-US" altLang="zh-CN" dirty="0"/>
          </a:p>
        </p:txBody>
      </p:sp>
      <p:sp>
        <p:nvSpPr>
          <p:cNvPr id="2" name="剪去单角的矩形 1"/>
          <p:cNvSpPr/>
          <p:nvPr/>
        </p:nvSpPr>
        <p:spPr>
          <a:xfrm>
            <a:off x="1526540" y="1192530"/>
            <a:ext cx="9432925" cy="4716780"/>
          </a:xfrm>
          <a:prstGeom prst="snip1Rect">
            <a:avLst/>
          </a:prstGeom>
          <a:solidFill>
            <a:schemeClr val="bg1">
              <a:lumMod val="6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fontAlgn="auto">
              <a:lnSpc>
                <a:spcPct val="150000"/>
              </a:lnSpc>
            </a:pPr>
            <a:r>
              <a:rPr lang="en-US" altLang="zh-CN" b="1" dirty="0">
                <a:solidFill>
                  <a:schemeClr val="tx1"/>
                </a:solidFill>
              </a:rPr>
              <a:t>中间件中可以定义5个方法，分别是：</a:t>
            </a:r>
            <a:endParaRPr lang="en-US" altLang="zh-CN" dirty="0"/>
          </a:p>
          <a:p>
            <a:pPr algn="l" fontAlgn="auto">
              <a:lnSpc>
                <a:spcPct val="150000"/>
              </a:lnSpc>
            </a:pPr>
            <a:r>
              <a:rPr lang="en-US" altLang="zh-CN" b="1" dirty="0">
                <a:solidFill>
                  <a:schemeClr val="tx1"/>
                </a:solidFill>
              </a:rPr>
              <a:t>process_request(self,request) :</a:t>
            </a:r>
            <a:endParaRPr lang="en-US" altLang="zh-CN" dirty="0">
              <a:solidFill>
                <a:schemeClr val="tx1"/>
              </a:solidFill>
            </a:endParaRPr>
          </a:p>
          <a:p>
            <a:pPr algn="l" fontAlgn="auto">
              <a:lnSpc>
                <a:spcPct val="150000"/>
              </a:lnSpc>
            </a:pPr>
            <a:r>
              <a:rPr lang="en-US" altLang="zh-CN" sz="1600" dirty="0">
                <a:solidFill>
                  <a:schemeClr val="tx1"/>
                </a:solidFill>
              </a:rPr>
              <a:t>执行视图之前被调用，在每个请求上调用，返回None或HttpResponse对象</a:t>
            </a:r>
            <a:endParaRPr lang="en-US" altLang="zh-CN" dirty="0">
              <a:solidFill>
                <a:schemeClr val="tx1"/>
              </a:solidFill>
            </a:endParaRPr>
          </a:p>
          <a:p>
            <a:pPr algn="l" fontAlgn="auto">
              <a:lnSpc>
                <a:spcPct val="150000"/>
              </a:lnSpc>
            </a:pPr>
            <a:r>
              <a:rPr lang="en-US" altLang="zh-CN" b="1" dirty="0">
                <a:solidFill>
                  <a:schemeClr val="tx1"/>
                </a:solidFill>
              </a:rPr>
              <a:t>process_view(self, request, callback, callback_args, callback_kwargs):</a:t>
            </a:r>
            <a:endParaRPr lang="en-US" altLang="zh-CN" dirty="0">
              <a:solidFill>
                <a:schemeClr val="tx1"/>
              </a:solidFill>
            </a:endParaRPr>
          </a:p>
          <a:p>
            <a:pPr algn="l" fontAlgn="auto">
              <a:lnSpc>
                <a:spcPct val="150000"/>
              </a:lnSpc>
            </a:pPr>
            <a:r>
              <a:rPr lang="en-US" altLang="zh-CN" sz="1600" dirty="0">
                <a:solidFill>
                  <a:schemeClr val="tx1"/>
                </a:solidFill>
              </a:rPr>
              <a:t>调用视图之前被调用，在每个请求上调用，返回None或HttpResponse对象</a:t>
            </a:r>
            <a:endParaRPr lang="en-US" altLang="zh-CN" sz="1600" dirty="0">
              <a:solidFill>
                <a:schemeClr val="tx1"/>
              </a:solidFill>
            </a:endParaRPr>
          </a:p>
          <a:p>
            <a:pPr algn="l" fontAlgn="auto">
              <a:lnSpc>
                <a:spcPct val="150000"/>
              </a:lnSpc>
            </a:pPr>
            <a:r>
              <a:rPr lang="en-US" altLang="zh-CN" b="1" dirty="0">
                <a:solidFill>
                  <a:schemeClr val="tx1"/>
                </a:solidFill>
              </a:rPr>
              <a:t>process_template_response(self,request,response):</a:t>
            </a:r>
            <a:endParaRPr lang="en-US" altLang="zh-CN" b="1" dirty="0">
              <a:solidFill>
                <a:schemeClr val="tx1"/>
              </a:solidFill>
            </a:endParaRPr>
          </a:p>
          <a:p>
            <a:pPr algn="l" fontAlgn="auto">
              <a:lnSpc>
                <a:spcPct val="150000"/>
              </a:lnSpc>
            </a:pPr>
            <a:r>
              <a:rPr lang="en-US" altLang="zh-CN" sz="1600" dirty="0">
                <a:solidFill>
                  <a:schemeClr val="tx1"/>
                </a:solidFill>
              </a:rPr>
              <a:t>在视图刚好执行完毕之后被调用，在每个请求上调用，返回实现了render方法的响应对象</a:t>
            </a:r>
            <a:endParaRPr lang="en-US" altLang="zh-CN" b="1" dirty="0">
              <a:solidFill>
                <a:schemeClr val="tx1"/>
              </a:solidFill>
            </a:endParaRPr>
          </a:p>
          <a:p>
            <a:pPr algn="l" fontAlgn="auto">
              <a:lnSpc>
                <a:spcPct val="150000"/>
              </a:lnSpc>
            </a:pPr>
            <a:r>
              <a:rPr lang="en-US" altLang="zh-CN" b="1" dirty="0">
                <a:solidFill>
                  <a:schemeClr val="tx1"/>
                </a:solidFill>
              </a:rPr>
              <a:t>process_exception(self, request, exception</a:t>
            </a:r>
            <a:r>
              <a:rPr lang="en-US" altLang="zh-CN" b="1" dirty="0" smtClean="0">
                <a:solidFill>
                  <a:schemeClr val="tx1"/>
                </a:solidFill>
              </a:rPr>
              <a:t>)</a:t>
            </a:r>
            <a:endParaRPr lang="en-US" altLang="zh-CN" b="1" dirty="0" smtClean="0">
              <a:solidFill>
                <a:schemeClr val="tx1"/>
              </a:solidFill>
            </a:endParaRPr>
          </a:p>
          <a:p>
            <a:pPr>
              <a:lnSpc>
                <a:spcPct val="150000"/>
              </a:lnSpc>
            </a:pPr>
            <a:r>
              <a:rPr lang="en-US" altLang="zh-CN" dirty="0">
                <a:solidFill>
                  <a:schemeClr val="tx1"/>
                </a:solidFill>
              </a:rPr>
              <a:t>当视图抛出异常时调用，在每个请求上调用，返回一个HttpResponse</a:t>
            </a:r>
            <a:r>
              <a:rPr lang="en-US" altLang="zh-CN" dirty="0" smtClean="0">
                <a:solidFill>
                  <a:schemeClr val="tx1"/>
                </a:solidFill>
              </a:rPr>
              <a:t>对象</a:t>
            </a:r>
            <a:endParaRPr lang="en-US" altLang="zh-CN" b="1" dirty="0">
              <a:solidFill>
                <a:schemeClr val="tx1"/>
              </a:solidFill>
            </a:endParaRPr>
          </a:p>
          <a:p>
            <a:pPr algn="l" fontAlgn="auto">
              <a:lnSpc>
                <a:spcPct val="150000"/>
              </a:lnSpc>
            </a:pPr>
            <a:r>
              <a:rPr lang="en-US" altLang="zh-CN" b="1" dirty="0" smtClean="0">
                <a:solidFill>
                  <a:schemeClr val="tx1"/>
                </a:solidFill>
              </a:rPr>
              <a:t>process_response(self</a:t>
            </a:r>
            <a:r>
              <a:rPr lang="en-US" altLang="zh-CN" b="1" dirty="0">
                <a:solidFill>
                  <a:schemeClr val="tx1"/>
                </a:solidFill>
              </a:rPr>
              <a:t>, request, response</a:t>
            </a:r>
            <a:endParaRPr lang="en-US" altLang="zh-CN" b="1" dirty="0">
              <a:solidFill>
                <a:schemeClr val="tx1"/>
              </a:solidFill>
            </a:endParaRPr>
          </a:p>
          <a:p>
            <a:pPr>
              <a:lnSpc>
                <a:spcPct val="150000"/>
              </a:lnSpc>
            </a:pPr>
            <a:r>
              <a:rPr lang="en-US" altLang="zh-CN" dirty="0" smtClean="0">
                <a:solidFill>
                  <a:schemeClr val="tx1"/>
                </a:solidFill>
              </a:rPr>
              <a:t>所有响应返回浏览器之前被调用</a:t>
            </a:r>
            <a:r>
              <a:rPr lang="en-US" altLang="zh-CN" dirty="0">
                <a:solidFill>
                  <a:schemeClr val="tx1"/>
                </a:solidFill>
              </a:rPr>
              <a:t>，在每个请求上调用，返回HttpResponse对象</a:t>
            </a:r>
            <a:endParaRPr lang="en-US" altLang="zh-CN" b="1" dirty="0">
              <a:solidFill>
                <a:schemeClr val="tx1"/>
              </a:solidFill>
            </a:endParaRPr>
          </a:p>
          <a:p>
            <a:pPr algn="l" fontAlgn="auto">
              <a:lnSpc>
                <a:spcPct val="150000"/>
              </a:lnSpc>
            </a:pPr>
            <a:endParaRPr lang="en-US" altLang="zh-CN" b="1" dirty="0">
              <a:solidFill>
                <a:schemeClr val="tx1"/>
              </a:solidFill>
            </a:endParaRPr>
          </a:p>
          <a:p>
            <a:pPr algn="l" fontAlgn="auto">
              <a:lnSpc>
                <a:spcPct val="150000"/>
              </a:lnSpc>
            </a:pPr>
            <a:endParaRPr lang="en-US" altLang="zh-CN" b="1" dirty="0">
              <a:solidFill>
                <a:schemeClr val="tx1"/>
              </a:solidFill>
            </a:endParaRPr>
          </a:p>
        </p:txBody>
      </p:sp>
    </p:spTree>
    <p:custDataLst>
      <p:tags r:id="rId6"/>
    </p:custDataLst>
  </p:cSld>
  <p:clrMapOvr>
    <a:masterClrMapping/>
  </p:clrMapOvr>
  <p:transition spd="slow" advClick="0" advTm="3000">
    <p:randomBar dir="vert"/>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MH_Title_1"/>
          <p:cNvSpPr/>
          <p:nvPr>
            <p:custDataLst>
              <p:tags r:id="rId1"/>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25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2"/>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Yu Gothic UI Semibold" panose="020B0700000000000000" charset="-128"/>
              <a:ea typeface="Yu Gothic UI Semibold" panose="020B0700000000000000" charset="-128"/>
            </a:endParaRPr>
          </a:p>
        </p:txBody>
      </p:sp>
      <p:sp>
        <p:nvSpPr>
          <p:cNvPr id="20" name="MH_Other_2"/>
          <p:cNvSpPr/>
          <p:nvPr>
            <p:custDataLst>
              <p:tags r:id="rId3"/>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Yu Gothic UI Semibold" panose="020B0700000000000000" charset="-128"/>
              <a:ea typeface="Yu Gothic UI Semibold" panose="020B0700000000000000" charset="-128"/>
            </a:endParaRPr>
          </a:p>
        </p:txBody>
      </p:sp>
      <p:sp>
        <p:nvSpPr>
          <p:cNvPr id="21" name="MH_Other_3"/>
          <p:cNvSpPr/>
          <p:nvPr>
            <p:custDataLst>
              <p:tags r:id="rId4"/>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Yu Gothic UI Semibold" panose="020B0700000000000000" charset="-128"/>
              <a:ea typeface="Yu Gothic UI Semibold" panose="020B0700000000000000" charset="-128"/>
            </a:endParaRPr>
          </a:p>
        </p:txBody>
      </p:sp>
      <p:sp>
        <p:nvSpPr>
          <p:cNvPr id="22" name="MH_Other_4"/>
          <p:cNvSpPr/>
          <p:nvPr>
            <p:custDataLst>
              <p:tags r:id="rId5"/>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Yu Gothic UI Semibold" panose="020B0700000000000000" charset="-128"/>
              <a:ea typeface="Yu Gothic UI Semibold" panose="020B0700000000000000" charset="-128"/>
            </a:endParaRPr>
          </a:p>
        </p:txBody>
      </p:sp>
      <p:sp>
        <p:nvSpPr>
          <p:cNvPr id="4" name="标题 3"/>
          <p:cNvSpPr>
            <a:spLocks noGrp="1"/>
          </p:cNvSpPr>
          <p:nvPr>
            <p:ph type="title"/>
          </p:nvPr>
        </p:nvSpPr>
        <p:spPr>
          <a:xfrm>
            <a:off x="580390" y="223871"/>
            <a:ext cx="11239500" cy="968375"/>
          </a:xfrm>
        </p:spPr>
        <p:txBody>
          <a:bodyPr/>
          <a:lstStyle/>
          <a:p>
            <a:r>
              <a:rPr lang="zh-CN" altLang="en-US" dirty="0"/>
              <a:t>中间的执行顺序</a:t>
            </a:r>
            <a:r>
              <a:rPr lang="en-US" altLang="zh-CN" dirty="0"/>
              <a:t>:</a:t>
            </a:r>
            <a:endParaRPr lang="en-US" altLang="zh-CN" dirty="0"/>
          </a:p>
        </p:txBody>
      </p:sp>
      <p:pic>
        <p:nvPicPr>
          <p:cNvPr id="2" name="图片 1"/>
          <p:cNvPicPr>
            <a:picLocks noChangeAspect="1"/>
          </p:cNvPicPr>
          <p:nvPr/>
        </p:nvPicPr>
        <p:blipFill>
          <a:blip r:embed="rId6"/>
          <a:stretch>
            <a:fillRect/>
          </a:stretch>
        </p:blipFill>
        <p:spPr>
          <a:xfrm>
            <a:off x="1597025" y="1967230"/>
            <a:ext cx="7047865" cy="3266440"/>
          </a:xfrm>
          <a:prstGeom prst="rect">
            <a:avLst/>
          </a:prstGeom>
        </p:spPr>
      </p:pic>
      <p:sp>
        <p:nvSpPr>
          <p:cNvPr id="227" name=" 227"/>
          <p:cNvSpPr/>
          <p:nvPr/>
        </p:nvSpPr>
        <p:spPr>
          <a:xfrm>
            <a:off x="7120890" y="759460"/>
            <a:ext cx="4063365" cy="2215515"/>
          </a:xfrm>
          <a:prstGeom prst="wedgeEllipseCallout">
            <a:avLst>
              <a:gd name="adj1" fmla="val -25046"/>
              <a:gd name="adj2" fmla="val 65698"/>
            </a:avLst>
          </a:prstGeom>
          <a:solidFill>
            <a:srgbClr val="E7686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l" eaLnBrk="1" fontAlgn="auto" hangingPunct="1">
              <a:spcBef>
                <a:spcPts val="0"/>
              </a:spcBef>
              <a:spcAft>
                <a:spcPts val="0"/>
              </a:spcAft>
              <a:defRPr/>
            </a:pPr>
            <a:r>
              <a:rPr dirty="0">
                <a:solidFill>
                  <a:srgbClr val="FFFFFF"/>
                </a:solidFill>
              </a:rPr>
              <a:t>请求以自上而下的顺序通过所有的层，view函数处理之后，响应以自下而上的顺序通过所有的层，期间经过的每个中间件都会对请求或者响应进行处理。</a:t>
            </a:r>
            <a:endParaRPr dirty="0">
              <a:solidFill>
                <a:srgbClr val="FFFFFF"/>
              </a:solidFill>
            </a:endParaRPr>
          </a:p>
        </p:txBody>
      </p:sp>
    </p:spTree>
    <p:custDataLst>
      <p:tags r:id="rId7"/>
    </p:custDataLst>
  </p:cSld>
  <p:clrMapOvr>
    <a:masterClrMapping/>
  </p:clrMapOvr>
  <p:transition spd="slow" advClick="0" advTm="3000">
    <p:randomBar dir="vert"/>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MH_Title_1"/>
          <p:cNvSpPr/>
          <p:nvPr>
            <p:custDataLst>
              <p:tags r:id="rId1"/>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25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2"/>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Yu Gothic UI Semibold" panose="020B0700000000000000" charset="-128"/>
              <a:ea typeface="Yu Gothic UI Semibold" panose="020B0700000000000000" charset="-128"/>
            </a:endParaRPr>
          </a:p>
        </p:txBody>
      </p:sp>
      <p:sp>
        <p:nvSpPr>
          <p:cNvPr id="20" name="MH_Other_2"/>
          <p:cNvSpPr/>
          <p:nvPr>
            <p:custDataLst>
              <p:tags r:id="rId3"/>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Yu Gothic UI Semibold" panose="020B0700000000000000" charset="-128"/>
              <a:ea typeface="Yu Gothic UI Semibold" panose="020B0700000000000000" charset="-128"/>
            </a:endParaRPr>
          </a:p>
        </p:txBody>
      </p:sp>
      <p:sp>
        <p:nvSpPr>
          <p:cNvPr id="21" name="MH_Other_3"/>
          <p:cNvSpPr/>
          <p:nvPr>
            <p:custDataLst>
              <p:tags r:id="rId4"/>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Yu Gothic UI Semibold" panose="020B0700000000000000" charset="-128"/>
              <a:ea typeface="Yu Gothic UI Semibold" panose="020B0700000000000000" charset="-128"/>
            </a:endParaRPr>
          </a:p>
        </p:txBody>
      </p:sp>
      <p:sp>
        <p:nvSpPr>
          <p:cNvPr id="22" name="MH_Other_4"/>
          <p:cNvSpPr/>
          <p:nvPr>
            <p:custDataLst>
              <p:tags r:id="rId5"/>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Yu Gothic UI Semibold" panose="020B0700000000000000" charset="-128"/>
              <a:ea typeface="Yu Gothic UI Semibold" panose="020B0700000000000000" charset="-128"/>
            </a:endParaRPr>
          </a:p>
        </p:txBody>
      </p:sp>
      <p:sp>
        <p:nvSpPr>
          <p:cNvPr id="4" name="标题 3"/>
          <p:cNvSpPr>
            <a:spLocks noGrp="1"/>
          </p:cNvSpPr>
          <p:nvPr>
            <p:ph type="title"/>
          </p:nvPr>
        </p:nvSpPr>
        <p:spPr>
          <a:xfrm>
            <a:off x="580390" y="223871"/>
            <a:ext cx="11239500" cy="968375"/>
          </a:xfrm>
        </p:spPr>
        <p:txBody>
          <a:bodyPr/>
          <a:lstStyle/>
          <a:p>
            <a:r>
              <a:rPr lang="zh-CN" altLang="en-US" dirty="0"/>
              <a:t>自定义中间件第一种方式例子</a:t>
            </a:r>
            <a:r>
              <a:rPr lang="en-US" altLang="zh-CN" dirty="0"/>
              <a:t>:</a:t>
            </a:r>
            <a:endParaRPr lang="en-US" altLang="zh-CN" dirty="0"/>
          </a:p>
        </p:txBody>
      </p:sp>
      <p:pic>
        <p:nvPicPr>
          <p:cNvPr id="3" name="图片 2"/>
          <p:cNvPicPr>
            <a:picLocks noChangeAspect="1"/>
          </p:cNvPicPr>
          <p:nvPr/>
        </p:nvPicPr>
        <p:blipFill>
          <a:blip r:embed="rId6"/>
          <a:stretch>
            <a:fillRect/>
          </a:stretch>
        </p:blipFill>
        <p:spPr>
          <a:xfrm>
            <a:off x="481965" y="1012825"/>
            <a:ext cx="8315960" cy="4972050"/>
          </a:xfrm>
          <a:prstGeom prst="rect">
            <a:avLst/>
          </a:prstGeom>
        </p:spPr>
      </p:pic>
      <p:sp>
        <p:nvSpPr>
          <p:cNvPr id="5" name="剪去单角的矩形 4"/>
          <p:cNvSpPr/>
          <p:nvPr/>
        </p:nvSpPr>
        <p:spPr>
          <a:xfrm>
            <a:off x="9131300" y="1297305"/>
            <a:ext cx="2688590" cy="4003040"/>
          </a:xfrm>
          <a:prstGeom prst="snip1Rect">
            <a:avLst/>
          </a:prstGeom>
          <a:solidFill>
            <a:srgbClr val="E5AB7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altLang="zh-CN">
                <a:sym typeface="+mn-ea"/>
              </a:rPr>
              <a:t>1.</a:t>
            </a:r>
            <a:r>
              <a:rPr lang="zh-CN">
                <a:sym typeface="+mn-ea"/>
              </a:rPr>
              <a:t>在主目录下创建了一个</a:t>
            </a:r>
            <a:r>
              <a:rPr lang="en-US" altLang="zh-CN">
                <a:sym typeface="+mn-ea"/>
              </a:rPr>
              <a:t>e.py</a:t>
            </a:r>
            <a:r>
              <a:rPr lang="zh-CN" altLang="en-US">
                <a:sym typeface="+mn-ea"/>
              </a:rPr>
              <a:t>的文件</a:t>
            </a:r>
            <a:r>
              <a:rPr lang="en-US" altLang="zh-CN">
                <a:sym typeface="+mn-ea"/>
              </a:rPr>
              <a:t>.</a:t>
            </a:r>
            <a:endParaRPr lang="en-US" altLang="zh-CN"/>
          </a:p>
          <a:p>
            <a:pPr algn="l"/>
            <a:r>
              <a:rPr lang="en-US" altLang="zh-CN">
                <a:sym typeface="+mn-ea"/>
              </a:rPr>
              <a:t>2.</a:t>
            </a:r>
            <a:r>
              <a:rPr lang="zh-CN" altLang="en-US">
                <a:sym typeface="+mn-ea"/>
              </a:rPr>
              <a:t>在</a:t>
            </a:r>
            <a:r>
              <a:rPr lang="en-US" altLang="zh-CN">
                <a:sym typeface="+mn-ea"/>
              </a:rPr>
              <a:t>.py</a:t>
            </a:r>
            <a:r>
              <a:rPr lang="zh-CN" altLang="en-US">
                <a:sym typeface="+mn-ea"/>
              </a:rPr>
              <a:t>的文件中创建一个MyException的类</a:t>
            </a:r>
            <a:endParaRPr lang="zh-CN" altLang="en-US">
              <a:sym typeface="+mn-ea"/>
            </a:endParaRPr>
          </a:p>
          <a:p>
            <a:pPr algn="l"/>
            <a:r>
              <a:rPr lang="en-US" altLang="zh-CN"/>
              <a:t>3.</a:t>
            </a:r>
            <a:r>
              <a:rPr lang="zh-CN" altLang="en-US"/>
              <a:t>自定义时你想要加在哪一块加功能就定义相对于的方法</a:t>
            </a:r>
            <a:r>
              <a:rPr lang="en-US" altLang="zh-CN"/>
              <a:t>,</a:t>
            </a:r>
            <a:r>
              <a:rPr lang="zh-CN" altLang="en-US"/>
              <a:t>不用全部都定义</a:t>
            </a:r>
            <a:r>
              <a:rPr lang="en-US" altLang="zh-CN"/>
              <a:t>.</a:t>
            </a:r>
            <a:endParaRPr lang="en-US" altLang="zh-CN"/>
          </a:p>
        </p:txBody>
      </p:sp>
    </p:spTree>
    <p:custDataLst>
      <p:tags r:id="rId7"/>
    </p:custDataLst>
  </p:cSld>
  <p:clrMapOvr>
    <a:masterClrMapping/>
  </p:clrMapOvr>
  <p:transition spd="slow" advClick="0" advTm="3000">
    <p:randomBar dir="vert"/>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MH_Title_1"/>
          <p:cNvSpPr/>
          <p:nvPr>
            <p:custDataLst>
              <p:tags r:id="rId1"/>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25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2"/>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Yu Gothic UI Semibold" panose="020B0700000000000000" charset="-128"/>
              <a:ea typeface="Yu Gothic UI Semibold" panose="020B0700000000000000" charset="-128"/>
            </a:endParaRPr>
          </a:p>
        </p:txBody>
      </p:sp>
      <p:sp>
        <p:nvSpPr>
          <p:cNvPr id="20" name="MH_Other_2"/>
          <p:cNvSpPr/>
          <p:nvPr>
            <p:custDataLst>
              <p:tags r:id="rId3"/>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Yu Gothic UI Semibold" panose="020B0700000000000000" charset="-128"/>
              <a:ea typeface="Yu Gothic UI Semibold" panose="020B0700000000000000" charset="-128"/>
            </a:endParaRPr>
          </a:p>
        </p:txBody>
      </p:sp>
      <p:sp>
        <p:nvSpPr>
          <p:cNvPr id="21" name="MH_Other_3"/>
          <p:cNvSpPr/>
          <p:nvPr>
            <p:custDataLst>
              <p:tags r:id="rId4"/>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Yu Gothic UI Semibold" panose="020B0700000000000000" charset="-128"/>
              <a:ea typeface="Yu Gothic UI Semibold" panose="020B0700000000000000" charset="-128"/>
            </a:endParaRPr>
          </a:p>
        </p:txBody>
      </p:sp>
      <p:sp>
        <p:nvSpPr>
          <p:cNvPr id="22" name="MH_Other_4"/>
          <p:cNvSpPr/>
          <p:nvPr>
            <p:custDataLst>
              <p:tags r:id="rId5"/>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Yu Gothic UI Semibold" panose="020B0700000000000000" charset="-128"/>
              <a:ea typeface="Yu Gothic UI Semibold" panose="020B0700000000000000" charset="-128"/>
            </a:endParaRPr>
          </a:p>
        </p:txBody>
      </p:sp>
      <p:sp>
        <p:nvSpPr>
          <p:cNvPr id="4" name="标题 3"/>
          <p:cNvSpPr>
            <a:spLocks noGrp="1"/>
          </p:cNvSpPr>
          <p:nvPr>
            <p:ph type="title"/>
          </p:nvPr>
        </p:nvSpPr>
        <p:spPr>
          <a:xfrm>
            <a:off x="580390" y="223871"/>
            <a:ext cx="11239500" cy="968375"/>
          </a:xfrm>
        </p:spPr>
        <p:txBody>
          <a:bodyPr/>
          <a:lstStyle/>
          <a:p>
            <a:r>
              <a:rPr lang="zh-CN" altLang="en-US" dirty="0">
                <a:sym typeface="+mn-ea"/>
              </a:rPr>
              <a:t>自定义中间件第二种方式例子</a:t>
            </a:r>
            <a:r>
              <a:rPr lang="en-US" altLang="zh-CN" dirty="0">
                <a:sym typeface="+mn-ea"/>
              </a:rPr>
              <a:t>:</a:t>
            </a:r>
            <a:endParaRPr lang="en-US" altLang="zh-CN" dirty="0"/>
          </a:p>
        </p:txBody>
      </p:sp>
      <p:sp>
        <p:nvSpPr>
          <p:cNvPr id="5" name="剪去单角的矩形 4"/>
          <p:cNvSpPr/>
          <p:nvPr/>
        </p:nvSpPr>
        <p:spPr>
          <a:xfrm>
            <a:off x="8495665" y="1427480"/>
            <a:ext cx="2688590" cy="4003040"/>
          </a:xfrm>
          <a:prstGeom prst="snip1Rect">
            <a:avLst/>
          </a:prstGeom>
          <a:solidFill>
            <a:srgbClr val="5BA78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altLang="zh-CN">
                <a:sym typeface="+mn-ea"/>
              </a:rPr>
              <a:t>1.</a:t>
            </a:r>
            <a:r>
              <a:rPr lang="zh-CN" altLang="en-US">
                <a:sym typeface="+mn-ea"/>
              </a:rPr>
              <a:t>在</a:t>
            </a:r>
            <a:r>
              <a:rPr lang="en-US" altLang="zh-CN">
                <a:sym typeface="+mn-ea"/>
              </a:rPr>
              <a:t>.py</a:t>
            </a:r>
            <a:r>
              <a:rPr lang="zh-CN" altLang="en-US">
                <a:sym typeface="+mn-ea"/>
              </a:rPr>
              <a:t>的文件中创建一个</a:t>
            </a:r>
            <a:r>
              <a:rPr lang="en-US" altLang="zh-CN">
                <a:sym typeface="+mn-ea"/>
              </a:rPr>
              <a:t>UserMiddleware</a:t>
            </a:r>
            <a:r>
              <a:rPr lang="zh-CN" altLang="en-US">
                <a:sym typeface="+mn-ea"/>
              </a:rPr>
              <a:t>的类</a:t>
            </a:r>
            <a:endParaRPr lang="zh-CN" altLang="en-US">
              <a:sym typeface="+mn-ea"/>
            </a:endParaRPr>
          </a:p>
          <a:p>
            <a:pPr algn="l"/>
            <a:r>
              <a:rPr lang="en-US" altLang="zh-CN"/>
              <a:t>2.</a:t>
            </a:r>
            <a:r>
              <a:rPr lang="zh-CN" altLang="en-US"/>
              <a:t>这个例子是给</a:t>
            </a:r>
            <a:r>
              <a:rPr lang="en-US" altLang="zh-CN"/>
              <a:t>request</a:t>
            </a:r>
            <a:r>
              <a:rPr lang="zh-CN" altLang="en-US"/>
              <a:t>请求增加一个</a:t>
            </a:r>
            <a:r>
              <a:rPr lang="en-US" altLang="zh-CN"/>
              <a:t>myuser</a:t>
            </a:r>
            <a:r>
              <a:rPr lang="zh-CN" altLang="en-US"/>
              <a:t>的属性</a:t>
            </a:r>
            <a:r>
              <a:rPr lang="en-US" altLang="zh-CN"/>
              <a:t>.</a:t>
            </a:r>
            <a:endParaRPr lang="en-US" altLang="zh-CN"/>
          </a:p>
          <a:p>
            <a:pPr algn="l"/>
            <a:r>
              <a:rPr lang="en-US" altLang="zh-CN"/>
              <a:t>3.</a:t>
            </a:r>
            <a:r>
              <a:rPr lang="zh-CN" altLang="en-US"/>
              <a:t>以这一句为分界</a:t>
            </a:r>
            <a:r>
              <a:rPr lang="en-US" altLang="zh-CN"/>
              <a:t>,</a:t>
            </a:r>
            <a:r>
              <a:rPr lang="zh-CN" altLang="en-US"/>
              <a:t>分别在</a:t>
            </a:r>
            <a:r>
              <a:rPr lang="en-US" altLang="zh-CN"/>
              <a:t>view</a:t>
            </a:r>
            <a:r>
              <a:rPr lang="zh-CN" altLang="en-US"/>
              <a:t>之前执行和</a:t>
            </a:r>
            <a:r>
              <a:rPr lang="en-US" altLang="zh-CN"/>
              <a:t>view</a:t>
            </a:r>
            <a:r>
              <a:rPr lang="zh-CN" altLang="en-US"/>
              <a:t>之后执行</a:t>
            </a:r>
            <a:endParaRPr lang="zh-CN" altLang="en-US"/>
          </a:p>
        </p:txBody>
      </p:sp>
      <p:pic>
        <p:nvPicPr>
          <p:cNvPr id="6" name="图片 5"/>
          <p:cNvPicPr>
            <a:picLocks noChangeAspect="1"/>
          </p:cNvPicPr>
          <p:nvPr/>
        </p:nvPicPr>
        <p:blipFill>
          <a:blip r:embed="rId6"/>
          <a:stretch>
            <a:fillRect/>
          </a:stretch>
        </p:blipFill>
        <p:spPr>
          <a:xfrm>
            <a:off x="1356995" y="1192530"/>
            <a:ext cx="6659245" cy="4704715"/>
          </a:xfrm>
          <a:prstGeom prst="rect">
            <a:avLst/>
          </a:prstGeom>
        </p:spPr>
      </p:pic>
    </p:spTree>
    <p:custDataLst>
      <p:tags r:id="rId7"/>
    </p:custDataLst>
  </p:cSld>
  <p:clrMapOvr>
    <a:masterClrMapping/>
  </p:clrMapOvr>
  <p:transition spd="slow" advClick="0" advTm="3000">
    <p:randomBar dir="vert"/>
  </p:transition>
  <p:timing>
    <p:tnLst>
      <p:par>
        <p:cTn id="1" dur="indefinite" restart="never" nodeType="tmRoot"/>
      </p:par>
    </p:tnLst>
  </p:timing>
</p:sld>
</file>

<file path=ppt/tags/tag1.xml><?xml version="1.0" encoding="utf-8"?>
<p:tagLst xmlns:p="http://schemas.openxmlformats.org/presentationml/2006/main">
  <p:tag name="MH" val="20161125000229"/>
  <p:tag name="MH_LIBRARY" val="GRAPHIC"/>
  <p:tag name="MH_TYPE" val="Title"/>
  <p:tag name="MH_ORDER" val="1"/>
</p:tagLst>
</file>

<file path=ppt/tags/tag10.xml><?xml version="1.0" encoding="utf-8"?>
<p:tagLst xmlns:p="http://schemas.openxmlformats.org/presentationml/2006/main">
  <p:tag name="MH" val="20161125000229"/>
  <p:tag name="MH_LIBRARY" val="GRAPHIC"/>
  <p:tag name="MH_TYPE" val="Other"/>
  <p:tag name="MH_ORDER" val="4"/>
</p:tagLst>
</file>

<file path=ppt/tags/tag100.xml><?xml version="1.0" encoding="utf-8"?>
<p:tagLst xmlns:p="http://schemas.openxmlformats.org/presentationml/2006/main">
  <p:tag name="MH" val="20161125000229"/>
  <p:tag name="MH_LIBRARY" val="GRAPHIC"/>
  <p:tag name="MH_TYPE" val="Other"/>
  <p:tag name="MH_ORDER" val="4"/>
</p:tagLst>
</file>

<file path=ppt/tags/tag101.xml><?xml version="1.0" encoding="utf-8"?>
<p:tagLst xmlns:p="http://schemas.openxmlformats.org/presentationml/2006/main">
  <p:tag name="MH_TYPE" val="#NeiR#"/>
  <p:tag name="MH_NUMBER" val="4"/>
  <p:tag name="MH_CATEGORY" val="#BingLLB#"/>
  <p:tag name="MH_LAYOUT" val="SubTitleText"/>
  <p:tag name="MH" val="20160929232046"/>
  <p:tag name="MH_LIBRARY" val="GRAPHIC"/>
</p:tagLst>
</file>

<file path=ppt/tags/tag102.xml><?xml version="1.0" encoding="utf-8"?>
<p:tagLst xmlns:p="http://schemas.openxmlformats.org/presentationml/2006/main">
  <p:tag name="MH" val="20161125000229"/>
  <p:tag name="MH_LIBRARY" val="GRAPHIC"/>
  <p:tag name="MH_TYPE" val="Title"/>
  <p:tag name="MH_ORDER" val="1"/>
</p:tagLst>
</file>

<file path=ppt/tags/tag103.xml><?xml version="1.0" encoding="utf-8"?>
<p:tagLst xmlns:p="http://schemas.openxmlformats.org/presentationml/2006/main">
  <p:tag name="MH" val="20161125000229"/>
  <p:tag name="MH_LIBRARY" val="GRAPHIC"/>
  <p:tag name="MH_TYPE" val="Other"/>
  <p:tag name="MH_ORDER" val="1"/>
</p:tagLst>
</file>

<file path=ppt/tags/tag104.xml><?xml version="1.0" encoding="utf-8"?>
<p:tagLst xmlns:p="http://schemas.openxmlformats.org/presentationml/2006/main">
  <p:tag name="MH" val="20161125000229"/>
  <p:tag name="MH_LIBRARY" val="GRAPHIC"/>
  <p:tag name="MH_TYPE" val="Other"/>
  <p:tag name="MH_ORDER" val="2"/>
</p:tagLst>
</file>

<file path=ppt/tags/tag105.xml><?xml version="1.0" encoding="utf-8"?>
<p:tagLst xmlns:p="http://schemas.openxmlformats.org/presentationml/2006/main">
  <p:tag name="MH" val="20161125000229"/>
  <p:tag name="MH_LIBRARY" val="GRAPHIC"/>
  <p:tag name="MH_TYPE" val="Other"/>
  <p:tag name="MH_ORDER" val="3"/>
</p:tagLst>
</file>

<file path=ppt/tags/tag106.xml><?xml version="1.0" encoding="utf-8"?>
<p:tagLst xmlns:p="http://schemas.openxmlformats.org/presentationml/2006/main">
  <p:tag name="MH" val="20161125000229"/>
  <p:tag name="MH_LIBRARY" val="GRAPHIC"/>
  <p:tag name="MH_TYPE" val="Other"/>
  <p:tag name="MH_ORDER" val="4"/>
</p:tagLst>
</file>

<file path=ppt/tags/tag107.xml><?xml version="1.0" encoding="utf-8"?>
<p:tagLst xmlns:p="http://schemas.openxmlformats.org/presentationml/2006/main">
  <p:tag name="MH_TYPE" val="#NeiR#"/>
  <p:tag name="MH_NUMBER" val="4"/>
  <p:tag name="MH_CATEGORY" val="#BingLLB#"/>
  <p:tag name="MH_LAYOUT" val="SubTitleText"/>
  <p:tag name="MH" val="20160929232046"/>
  <p:tag name="MH_LIBRARY" val="GRAPHIC"/>
</p:tagLst>
</file>

<file path=ppt/tags/tag108.xml><?xml version="1.0" encoding="utf-8"?>
<p:tagLst xmlns:p="http://schemas.openxmlformats.org/presentationml/2006/main">
  <p:tag name="MH" val="20161125000229"/>
  <p:tag name="MH_LIBRARY" val="GRAPHIC"/>
  <p:tag name="MH_TYPE" val="Title"/>
  <p:tag name="MH_ORDER" val="1"/>
</p:tagLst>
</file>

<file path=ppt/tags/tag109.xml><?xml version="1.0" encoding="utf-8"?>
<p:tagLst xmlns:p="http://schemas.openxmlformats.org/presentationml/2006/main">
  <p:tag name="MH" val="20161125000229"/>
  <p:tag name="MH_LIBRARY" val="GRAPHIC"/>
  <p:tag name="MH_TYPE" val="Other"/>
  <p:tag name="MH_ORDER" val="1"/>
</p:tagLst>
</file>

<file path=ppt/tags/tag11.xml><?xml version="1.0" encoding="utf-8"?>
<p:tagLst xmlns:p="http://schemas.openxmlformats.org/presentationml/2006/main">
  <p:tag name="MH_TYPE" val="#NeiR#"/>
  <p:tag name="MH_NUMBER" val="4"/>
  <p:tag name="MH_CATEGORY" val="#BingLLB#"/>
  <p:tag name="MH_LAYOUT" val="SubTitleText"/>
  <p:tag name="MH" val="20160929232046"/>
  <p:tag name="MH_LIBRARY" val="GRAPHIC"/>
</p:tagLst>
</file>

<file path=ppt/tags/tag110.xml><?xml version="1.0" encoding="utf-8"?>
<p:tagLst xmlns:p="http://schemas.openxmlformats.org/presentationml/2006/main">
  <p:tag name="MH" val="20161125000229"/>
  <p:tag name="MH_LIBRARY" val="GRAPHIC"/>
  <p:tag name="MH_TYPE" val="Other"/>
  <p:tag name="MH_ORDER" val="2"/>
</p:tagLst>
</file>

<file path=ppt/tags/tag111.xml><?xml version="1.0" encoding="utf-8"?>
<p:tagLst xmlns:p="http://schemas.openxmlformats.org/presentationml/2006/main">
  <p:tag name="MH" val="20161125000229"/>
  <p:tag name="MH_LIBRARY" val="GRAPHIC"/>
  <p:tag name="MH_TYPE" val="Other"/>
  <p:tag name="MH_ORDER" val="3"/>
</p:tagLst>
</file>

<file path=ppt/tags/tag112.xml><?xml version="1.0" encoding="utf-8"?>
<p:tagLst xmlns:p="http://schemas.openxmlformats.org/presentationml/2006/main">
  <p:tag name="MH" val="20161125000229"/>
  <p:tag name="MH_LIBRARY" val="GRAPHIC"/>
  <p:tag name="MH_TYPE" val="Other"/>
  <p:tag name="MH_ORDER" val="4"/>
</p:tagLst>
</file>

<file path=ppt/tags/tag113.xml><?xml version="1.0" encoding="utf-8"?>
<p:tagLst xmlns:p="http://schemas.openxmlformats.org/presentationml/2006/main">
  <p:tag name="MH_TYPE" val="#NeiR#"/>
  <p:tag name="MH_NUMBER" val="4"/>
  <p:tag name="MH_CATEGORY" val="#BingLLB#"/>
  <p:tag name="MH_LAYOUT" val="SubTitleText"/>
  <p:tag name="MH" val="20160929232046"/>
  <p:tag name="MH_LIBRARY" val="GRAPHIC"/>
</p:tagLst>
</file>

<file path=ppt/tags/tag114.xml><?xml version="1.0" encoding="utf-8"?>
<p:tagLst xmlns:p="http://schemas.openxmlformats.org/presentationml/2006/main">
  <p:tag name="MH" val="20161125000229"/>
  <p:tag name="MH_LIBRARY" val="GRAPHIC"/>
  <p:tag name="MH_TYPE" val="Title"/>
  <p:tag name="MH_ORDER" val="1"/>
</p:tagLst>
</file>

<file path=ppt/tags/tag115.xml><?xml version="1.0" encoding="utf-8"?>
<p:tagLst xmlns:p="http://schemas.openxmlformats.org/presentationml/2006/main">
  <p:tag name="MH" val="20161125000229"/>
  <p:tag name="MH_LIBRARY" val="GRAPHIC"/>
  <p:tag name="MH_TYPE" val="Other"/>
  <p:tag name="MH_ORDER" val="1"/>
</p:tagLst>
</file>

<file path=ppt/tags/tag116.xml><?xml version="1.0" encoding="utf-8"?>
<p:tagLst xmlns:p="http://schemas.openxmlformats.org/presentationml/2006/main">
  <p:tag name="MH" val="20161125000229"/>
  <p:tag name="MH_LIBRARY" val="GRAPHIC"/>
  <p:tag name="MH_TYPE" val="Other"/>
  <p:tag name="MH_ORDER" val="2"/>
</p:tagLst>
</file>

<file path=ppt/tags/tag117.xml><?xml version="1.0" encoding="utf-8"?>
<p:tagLst xmlns:p="http://schemas.openxmlformats.org/presentationml/2006/main">
  <p:tag name="MH" val="20161125000229"/>
  <p:tag name="MH_LIBRARY" val="GRAPHIC"/>
  <p:tag name="MH_TYPE" val="Other"/>
  <p:tag name="MH_ORDER" val="3"/>
</p:tagLst>
</file>

<file path=ppt/tags/tag118.xml><?xml version="1.0" encoding="utf-8"?>
<p:tagLst xmlns:p="http://schemas.openxmlformats.org/presentationml/2006/main">
  <p:tag name="MH" val="20161125000229"/>
  <p:tag name="MH_LIBRARY" val="GRAPHIC"/>
  <p:tag name="MH_TYPE" val="Other"/>
  <p:tag name="MH_ORDER" val="4"/>
</p:tagLst>
</file>

<file path=ppt/tags/tag119.xml><?xml version="1.0" encoding="utf-8"?>
<p:tagLst xmlns:p="http://schemas.openxmlformats.org/presentationml/2006/main">
  <p:tag name="MH_TYPE" val="#NeiR#"/>
  <p:tag name="MH_NUMBER" val="4"/>
  <p:tag name="MH_CATEGORY" val="#BingLLB#"/>
  <p:tag name="MH_LAYOUT" val="SubTitleText"/>
  <p:tag name="MH" val="20160929232046"/>
  <p:tag name="MH_LIBRARY" val="GRAPHIC"/>
</p:tagLst>
</file>

<file path=ppt/tags/tag12.xml><?xml version="1.0" encoding="utf-8"?>
<p:tagLst xmlns:p="http://schemas.openxmlformats.org/presentationml/2006/main">
  <p:tag name="MH" val="20161125000229"/>
  <p:tag name="MH_LIBRARY" val="GRAPHIC"/>
  <p:tag name="MH_TYPE" val="Title"/>
  <p:tag name="MH_ORDER" val="1"/>
</p:tagLst>
</file>

<file path=ppt/tags/tag120.xml><?xml version="1.0" encoding="utf-8"?>
<p:tagLst xmlns:p="http://schemas.openxmlformats.org/presentationml/2006/main">
  <p:tag name="MH" val="20161125000229"/>
  <p:tag name="MH_LIBRARY" val="GRAPHIC"/>
  <p:tag name="MH_TYPE" val="Title"/>
  <p:tag name="MH_ORDER" val="1"/>
</p:tagLst>
</file>

<file path=ppt/tags/tag121.xml><?xml version="1.0" encoding="utf-8"?>
<p:tagLst xmlns:p="http://schemas.openxmlformats.org/presentationml/2006/main">
  <p:tag name="MH" val="20161125000229"/>
  <p:tag name="MH_LIBRARY" val="GRAPHIC"/>
  <p:tag name="MH_TYPE" val="Other"/>
  <p:tag name="MH_ORDER" val="1"/>
</p:tagLst>
</file>

<file path=ppt/tags/tag122.xml><?xml version="1.0" encoding="utf-8"?>
<p:tagLst xmlns:p="http://schemas.openxmlformats.org/presentationml/2006/main">
  <p:tag name="MH" val="20161125000229"/>
  <p:tag name="MH_LIBRARY" val="GRAPHIC"/>
  <p:tag name="MH_TYPE" val="Other"/>
  <p:tag name="MH_ORDER" val="2"/>
</p:tagLst>
</file>

<file path=ppt/tags/tag123.xml><?xml version="1.0" encoding="utf-8"?>
<p:tagLst xmlns:p="http://schemas.openxmlformats.org/presentationml/2006/main">
  <p:tag name="MH" val="20161125000229"/>
  <p:tag name="MH_LIBRARY" val="GRAPHIC"/>
  <p:tag name="MH_TYPE" val="Other"/>
  <p:tag name="MH_ORDER" val="3"/>
</p:tagLst>
</file>

<file path=ppt/tags/tag124.xml><?xml version="1.0" encoding="utf-8"?>
<p:tagLst xmlns:p="http://schemas.openxmlformats.org/presentationml/2006/main">
  <p:tag name="MH" val="20161125000229"/>
  <p:tag name="MH_LIBRARY" val="GRAPHIC"/>
  <p:tag name="MH_TYPE" val="Other"/>
  <p:tag name="MH_ORDER" val="4"/>
</p:tagLst>
</file>

<file path=ppt/tags/tag125.xml><?xml version="1.0" encoding="utf-8"?>
<p:tagLst xmlns:p="http://schemas.openxmlformats.org/presentationml/2006/main">
  <p:tag name="MH_TYPE" val="#NeiR#"/>
  <p:tag name="MH_NUMBER" val="4"/>
  <p:tag name="MH_CATEGORY" val="#BingLLB#"/>
  <p:tag name="MH_LAYOUT" val="SubTitleText"/>
  <p:tag name="MH" val="20160929232046"/>
  <p:tag name="MH_LIBRARY" val="GRAPHIC"/>
</p:tagLst>
</file>

<file path=ppt/tags/tag126.xml><?xml version="1.0" encoding="utf-8"?>
<p:tagLst xmlns:p="http://schemas.openxmlformats.org/presentationml/2006/main">
  <p:tag name="MH" val="20161125000229"/>
  <p:tag name="MH_LIBRARY" val="GRAPHIC"/>
  <p:tag name="MH_TYPE" val="Title"/>
  <p:tag name="MH_ORDER" val="1"/>
</p:tagLst>
</file>

<file path=ppt/tags/tag127.xml><?xml version="1.0" encoding="utf-8"?>
<p:tagLst xmlns:p="http://schemas.openxmlformats.org/presentationml/2006/main">
  <p:tag name="MH" val="20161125000229"/>
  <p:tag name="MH_LIBRARY" val="GRAPHIC"/>
  <p:tag name="MH_TYPE" val="Other"/>
  <p:tag name="MH_ORDER" val="1"/>
</p:tagLst>
</file>

<file path=ppt/tags/tag128.xml><?xml version="1.0" encoding="utf-8"?>
<p:tagLst xmlns:p="http://schemas.openxmlformats.org/presentationml/2006/main">
  <p:tag name="MH" val="20161125000229"/>
  <p:tag name="MH_LIBRARY" val="GRAPHIC"/>
  <p:tag name="MH_TYPE" val="Other"/>
  <p:tag name="MH_ORDER" val="2"/>
</p:tagLst>
</file>

<file path=ppt/tags/tag129.xml><?xml version="1.0" encoding="utf-8"?>
<p:tagLst xmlns:p="http://schemas.openxmlformats.org/presentationml/2006/main">
  <p:tag name="MH" val="20161125000229"/>
  <p:tag name="MH_LIBRARY" val="GRAPHIC"/>
  <p:tag name="MH_TYPE" val="Other"/>
  <p:tag name="MH_ORDER" val="3"/>
</p:tagLst>
</file>

<file path=ppt/tags/tag13.xml><?xml version="1.0" encoding="utf-8"?>
<p:tagLst xmlns:p="http://schemas.openxmlformats.org/presentationml/2006/main">
  <p:tag name="MH" val="20161125000229"/>
  <p:tag name="MH_LIBRARY" val="GRAPHIC"/>
  <p:tag name="MH_TYPE" val="Other"/>
  <p:tag name="MH_ORDER" val="1"/>
</p:tagLst>
</file>

<file path=ppt/tags/tag130.xml><?xml version="1.0" encoding="utf-8"?>
<p:tagLst xmlns:p="http://schemas.openxmlformats.org/presentationml/2006/main">
  <p:tag name="MH" val="20161125000229"/>
  <p:tag name="MH_LIBRARY" val="GRAPHIC"/>
  <p:tag name="MH_TYPE" val="Other"/>
  <p:tag name="MH_ORDER" val="4"/>
</p:tagLst>
</file>

<file path=ppt/tags/tag131.xml><?xml version="1.0" encoding="utf-8"?>
<p:tagLst xmlns:p="http://schemas.openxmlformats.org/presentationml/2006/main">
  <p:tag name="MH_TYPE" val="#NeiR#"/>
  <p:tag name="MH_NUMBER" val="4"/>
  <p:tag name="MH_CATEGORY" val="#BingLLB#"/>
  <p:tag name="MH_LAYOUT" val="SubTitleText"/>
  <p:tag name="MH" val="20160929232046"/>
  <p:tag name="MH_LIBRARY" val="GRAPHIC"/>
</p:tagLst>
</file>

<file path=ppt/tags/tag132.xml><?xml version="1.0" encoding="utf-8"?>
<p:tagLst xmlns:p="http://schemas.openxmlformats.org/presentationml/2006/main">
  <p:tag name="MH" val="20161125000229"/>
  <p:tag name="MH_LIBRARY" val="GRAPHIC"/>
  <p:tag name="MH_TYPE" val="Title"/>
  <p:tag name="MH_ORDER" val="1"/>
</p:tagLst>
</file>

<file path=ppt/tags/tag133.xml><?xml version="1.0" encoding="utf-8"?>
<p:tagLst xmlns:p="http://schemas.openxmlformats.org/presentationml/2006/main">
  <p:tag name="MH" val="20161125000229"/>
  <p:tag name="MH_LIBRARY" val="GRAPHIC"/>
  <p:tag name="MH_TYPE" val="Other"/>
  <p:tag name="MH_ORDER" val="1"/>
</p:tagLst>
</file>

<file path=ppt/tags/tag134.xml><?xml version="1.0" encoding="utf-8"?>
<p:tagLst xmlns:p="http://schemas.openxmlformats.org/presentationml/2006/main">
  <p:tag name="MH" val="20161125000229"/>
  <p:tag name="MH_LIBRARY" val="GRAPHIC"/>
  <p:tag name="MH_TYPE" val="Other"/>
  <p:tag name="MH_ORDER" val="2"/>
</p:tagLst>
</file>

<file path=ppt/tags/tag135.xml><?xml version="1.0" encoding="utf-8"?>
<p:tagLst xmlns:p="http://schemas.openxmlformats.org/presentationml/2006/main">
  <p:tag name="MH" val="20161125000229"/>
  <p:tag name="MH_LIBRARY" val="GRAPHIC"/>
  <p:tag name="MH_TYPE" val="Other"/>
  <p:tag name="MH_ORDER" val="3"/>
</p:tagLst>
</file>

<file path=ppt/tags/tag136.xml><?xml version="1.0" encoding="utf-8"?>
<p:tagLst xmlns:p="http://schemas.openxmlformats.org/presentationml/2006/main">
  <p:tag name="MH" val="20161125000229"/>
  <p:tag name="MH_LIBRARY" val="GRAPHIC"/>
  <p:tag name="MH_TYPE" val="Other"/>
  <p:tag name="MH_ORDER" val="4"/>
</p:tagLst>
</file>

<file path=ppt/tags/tag137.xml><?xml version="1.0" encoding="utf-8"?>
<p:tagLst xmlns:p="http://schemas.openxmlformats.org/presentationml/2006/main">
  <p:tag name="MH_TYPE" val="#NeiR#"/>
  <p:tag name="MH_NUMBER" val="4"/>
  <p:tag name="MH_CATEGORY" val="#BingLLB#"/>
  <p:tag name="MH_LAYOUT" val="SubTitleText"/>
  <p:tag name="MH" val="20160929232046"/>
  <p:tag name="MH_LIBRARY" val="GRAPHIC"/>
</p:tagLst>
</file>

<file path=ppt/tags/tag138.xml><?xml version="1.0" encoding="utf-8"?>
<p:tagLst xmlns:p="http://schemas.openxmlformats.org/presentationml/2006/main">
  <p:tag name="MH" val="20161125000229"/>
  <p:tag name="MH_LIBRARY" val="GRAPHIC"/>
  <p:tag name="MH_TYPE" val="Title"/>
  <p:tag name="MH_ORDER" val="1"/>
</p:tagLst>
</file>

<file path=ppt/tags/tag139.xml><?xml version="1.0" encoding="utf-8"?>
<p:tagLst xmlns:p="http://schemas.openxmlformats.org/presentationml/2006/main">
  <p:tag name="MH" val="20161125000229"/>
  <p:tag name="MH_LIBRARY" val="GRAPHIC"/>
  <p:tag name="MH_TYPE" val="PageTitle"/>
  <p:tag name="MH_ORDER" val="PageTitle"/>
</p:tagLst>
</file>

<file path=ppt/tags/tag14.xml><?xml version="1.0" encoding="utf-8"?>
<p:tagLst xmlns:p="http://schemas.openxmlformats.org/presentationml/2006/main">
  <p:tag name="MH" val="20161125000229"/>
  <p:tag name="MH_LIBRARY" val="GRAPHIC"/>
  <p:tag name="MH_TYPE" val="Other"/>
  <p:tag name="MH_ORDER" val="2"/>
</p:tagLst>
</file>

<file path=ppt/tags/tag140.xml><?xml version="1.0" encoding="utf-8"?>
<p:tagLst xmlns:p="http://schemas.openxmlformats.org/presentationml/2006/main">
  <p:tag name="MH" val="20161125000229"/>
  <p:tag name="MH_LIBRARY" val="GRAPHIC"/>
  <p:tag name="MH_TYPE" val="Other"/>
  <p:tag name="MH_ORDER" val="1"/>
</p:tagLst>
</file>

<file path=ppt/tags/tag141.xml><?xml version="1.0" encoding="utf-8"?>
<p:tagLst xmlns:p="http://schemas.openxmlformats.org/presentationml/2006/main">
  <p:tag name="MH" val="20161125000229"/>
  <p:tag name="MH_LIBRARY" val="GRAPHIC"/>
  <p:tag name="MH_TYPE" val="Other"/>
  <p:tag name="MH_ORDER" val="2"/>
</p:tagLst>
</file>

<file path=ppt/tags/tag142.xml><?xml version="1.0" encoding="utf-8"?>
<p:tagLst xmlns:p="http://schemas.openxmlformats.org/presentationml/2006/main">
  <p:tag name="MH" val="20161125000229"/>
  <p:tag name="MH_LIBRARY" val="GRAPHIC"/>
  <p:tag name="MH_TYPE" val="Other"/>
  <p:tag name="MH_ORDER" val="3"/>
</p:tagLst>
</file>

<file path=ppt/tags/tag143.xml><?xml version="1.0" encoding="utf-8"?>
<p:tagLst xmlns:p="http://schemas.openxmlformats.org/presentationml/2006/main">
  <p:tag name="MH" val="20161125000229"/>
  <p:tag name="MH_LIBRARY" val="GRAPHIC"/>
  <p:tag name="MH_TYPE" val="Other"/>
  <p:tag name="MH_ORDER" val="4"/>
</p:tagLst>
</file>

<file path=ppt/tags/tag144.xml><?xml version="1.0" encoding="utf-8"?>
<p:tagLst xmlns:p="http://schemas.openxmlformats.org/presentationml/2006/main">
  <p:tag name="THINKCELLSHAPEDONOTDELETE" val="pKOZHO13yzUCaepRpRzBw5w"/>
</p:tagLst>
</file>

<file path=ppt/tags/tag145.xml><?xml version="1.0" encoding="utf-8"?>
<p:tagLst xmlns:p="http://schemas.openxmlformats.org/presentationml/2006/main">
  <p:tag name="MH_TYPE" val="#NeiR#"/>
  <p:tag name="MH_NUMBER" val="4"/>
  <p:tag name="MH_CATEGORY" val="#YinZJG#"/>
  <p:tag name="MH_LAYOUT" val="TitleSubTitleText"/>
  <p:tag name="MH" val="20161125000229"/>
  <p:tag name="MH_LIBRARY" val="GRAPHIC"/>
</p:tagLst>
</file>

<file path=ppt/tags/tag15.xml><?xml version="1.0" encoding="utf-8"?>
<p:tagLst xmlns:p="http://schemas.openxmlformats.org/presentationml/2006/main">
  <p:tag name="MH" val="20161125000229"/>
  <p:tag name="MH_LIBRARY" val="GRAPHIC"/>
  <p:tag name="MH_TYPE" val="Other"/>
  <p:tag name="MH_ORDER" val="3"/>
</p:tagLst>
</file>

<file path=ppt/tags/tag16.xml><?xml version="1.0" encoding="utf-8"?>
<p:tagLst xmlns:p="http://schemas.openxmlformats.org/presentationml/2006/main">
  <p:tag name="MH" val="20161125000229"/>
  <p:tag name="MH_LIBRARY" val="GRAPHIC"/>
  <p:tag name="MH_TYPE" val="Other"/>
  <p:tag name="MH_ORDER" val="4"/>
</p:tagLst>
</file>

<file path=ppt/tags/tag17.xml><?xml version="1.0" encoding="utf-8"?>
<p:tagLst xmlns:p="http://schemas.openxmlformats.org/presentationml/2006/main">
  <p:tag name="MH_TYPE" val="#NeiR#"/>
  <p:tag name="MH_NUMBER" val="4"/>
  <p:tag name="MH_CATEGORY" val="#BingLLB#"/>
  <p:tag name="MH_LAYOUT" val="SubTitleText"/>
  <p:tag name="MH" val="20160929232046"/>
  <p:tag name="MH_LIBRARY" val="GRAPHIC"/>
</p:tagLst>
</file>

<file path=ppt/tags/tag18.xml><?xml version="1.0" encoding="utf-8"?>
<p:tagLst xmlns:p="http://schemas.openxmlformats.org/presentationml/2006/main">
  <p:tag name="MH" val="20161125000229"/>
  <p:tag name="MH_LIBRARY" val="GRAPHIC"/>
  <p:tag name="MH_TYPE" val="Title"/>
  <p:tag name="MH_ORDER" val="1"/>
</p:tagLst>
</file>

<file path=ppt/tags/tag19.xml><?xml version="1.0" encoding="utf-8"?>
<p:tagLst xmlns:p="http://schemas.openxmlformats.org/presentationml/2006/main">
  <p:tag name="MH" val="20161125000229"/>
  <p:tag name="MH_LIBRARY" val="GRAPHIC"/>
  <p:tag name="MH_TYPE" val="Other"/>
  <p:tag name="MH_ORDER" val="1"/>
</p:tagLst>
</file>

<file path=ppt/tags/tag2.xml><?xml version="1.0" encoding="utf-8"?>
<p:tagLst xmlns:p="http://schemas.openxmlformats.org/presentationml/2006/main">
  <p:tag name="MH" val="20161125000229"/>
  <p:tag name="MH_LIBRARY" val="GRAPHIC"/>
  <p:tag name="MH_TYPE" val="Other"/>
  <p:tag name="MH_ORDER" val="1"/>
</p:tagLst>
</file>

<file path=ppt/tags/tag20.xml><?xml version="1.0" encoding="utf-8"?>
<p:tagLst xmlns:p="http://schemas.openxmlformats.org/presentationml/2006/main">
  <p:tag name="MH" val="20161125000229"/>
  <p:tag name="MH_LIBRARY" val="GRAPHIC"/>
  <p:tag name="MH_TYPE" val="Other"/>
  <p:tag name="MH_ORDER" val="2"/>
</p:tagLst>
</file>

<file path=ppt/tags/tag21.xml><?xml version="1.0" encoding="utf-8"?>
<p:tagLst xmlns:p="http://schemas.openxmlformats.org/presentationml/2006/main">
  <p:tag name="MH" val="20161125000229"/>
  <p:tag name="MH_LIBRARY" val="GRAPHIC"/>
  <p:tag name="MH_TYPE" val="Other"/>
  <p:tag name="MH_ORDER" val="3"/>
</p:tagLst>
</file>

<file path=ppt/tags/tag22.xml><?xml version="1.0" encoding="utf-8"?>
<p:tagLst xmlns:p="http://schemas.openxmlformats.org/presentationml/2006/main">
  <p:tag name="MH" val="20161125000229"/>
  <p:tag name="MH_LIBRARY" val="GRAPHIC"/>
  <p:tag name="MH_TYPE" val="Other"/>
  <p:tag name="MH_ORDER" val="4"/>
</p:tagLst>
</file>

<file path=ppt/tags/tag23.xml><?xml version="1.0" encoding="utf-8"?>
<p:tagLst xmlns:p="http://schemas.openxmlformats.org/presentationml/2006/main">
  <p:tag name="MH_TYPE" val="#NeiR#"/>
  <p:tag name="MH_NUMBER" val="4"/>
  <p:tag name="MH_CATEGORY" val="#BingLLB#"/>
  <p:tag name="MH_LAYOUT" val="SubTitleText"/>
  <p:tag name="MH" val="20160929232046"/>
  <p:tag name="MH_LIBRARY" val="GRAPHIC"/>
</p:tagLst>
</file>

<file path=ppt/tags/tag24.xml><?xml version="1.0" encoding="utf-8"?>
<p:tagLst xmlns:p="http://schemas.openxmlformats.org/presentationml/2006/main">
  <p:tag name="MH" val="20161125000229"/>
  <p:tag name="MH_LIBRARY" val="GRAPHIC"/>
  <p:tag name="MH_TYPE" val="Title"/>
  <p:tag name="MH_ORDER" val="1"/>
</p:tagLst>
</file>

<file path=ppt/tags/tag25.xml><?xml version="1.0" encoding="utf-8"?>
<p:tagLst xmlns:p="http://schemas.openxmlformats.org/presentationml/2006/main">
  <p:tag name="MH" val="20161125000229"/>
  <p:tag name="MH_LIBRARY" val="GRAPHIC"/>
  <p:tag name="MH_TYPE" val="Other"/>
  <p:tag name="MH_ORDER" val="1"/>
</p:tagLst>
</file>

<file path=ppt/tags/tag26.xml><?xml version="1.0" encoding="utf-8"?>
<p:tagLst xmlns:p="http://schemas.openxmlformats.org/presentationml/2006/main">
  <p:tag name="MH" val="20161125000229"/>
  <p:tag name="MH_LIBRARY" val="GRAPHIC"/>
  <p:tag name="MH_TYPE" val="Other"/>
  <p:tag name="MH_ORDER" val="2"/>
</p:tagLst>
</file>

<file path=ppt/tags/tag27.xml><?xml version="1.0" encoding="utf-8"?>
<p:tagLst xmlns:p="http://schemas.openxmlformats.org/presentationml/2006/main">
  <p:tag name="MH" val="20161125000229"/>
  <p:tag name="MH_LIBRARY" val="GRAPHIC"/>
  <p:tag name="MH_TYPE" val="Other"/>
  <p:tag name="MH_ORDER" val="3"/>
</p:tagLst>
</file>

<file path=ppt/tags/tag28.xml><?xml version="1.0" encoding="utf-8"?>
<p:tagLst xmlns:p="http://schemas.openxmlformats.org/presentationml/2006/main">
  <p:tag name="MH" val="20161125000229"/>
  <p:tag name="MH_LIBRARY" val="GRAPHIC"/>
  <p:tag name="MH_TYPE" val="Other"/>
  <p:tag name="MH_ORDER" val="4"/>
</p:tagLst>
</file>

<file path=ppt/tags/tag29.xml><?xml version="1.0" encoding="utf-8"?>
<p:tagLst xmlns:p="http://schemas.openxmlformats.org/presentationml/2006/main">
  <p:tag name="MH_TYPE" val="#NeiR#"/>
  <p:tag name="MH_NUMBER" val="4"/>
  <p:tag name="MH_CATEGORY" val="#BingLLB#"/>
  <p:tag name="MH_LAYOUT" val="SubTitleText"/>
  <p:tag name="MH" val="20160929232046"/>
  <p:tag name="MH_LIBRARY" val="GRAPHIC"/>
</p:tagLst>
</file>

<file path=ppt/tags/tag3.xml><?xml version="1.0" encoding="utf-8"?>
<p:tagLst xmlns:p="http://schemas.openxmlformats.org/presentationml/2006/main">
  <p:tag name="MH" val="20161125000229"/>
  <p:tag name="MH_LIBRARY" val="GRAPHIC"/>
  <p:tag name="MH_TYPE" val="Other"/>
  <p:tag name="MH_ORDER" val="2"/>
</p:tagLst>
</file>

<file path=ppt/tags/tag30.xml><?xml version="1.0" encoding="utf-8"?>
<p:tagLst xmlns:p="http://schemas.openxmlformats.org/presentationml/2006/main">
  <p:tag name="MH" val="20161125000229"/>
  <p:tag name="MH_LIBRARY" val="GRAPHIC"/>
  <p:tag name="MH_TYPE" val="Title"/>
  <p:tag name="MH_ORDER" val="1"/>
</p:tagLst>
</file>

<file path=ppt/tags/tag31.xml><?xml version="1.0" encoding="utf-8"?>
<p:tagLst xmlns:p="http://schemas.openxmlformats.org/presentationml/2006/main">
  <p:tag name="MH" val="20161125000229"/>
  <p:tag name="MH_LIBRARY" val="GRAPHIC"/>
  <p:tag name="MH_TYPE" val="Other"/>
  <p:tag name="MH_ORDER" val="1"/>
</p:tagLst>
</file>

<file path=ppt/tags/tag32.xml><?xml version="1.0" encoding="utf-8"?>
<p:tagLst xmlns:p="http://schemas.openxmlformats.org/presentationml/2006/main">
  <p:tag name="MH" val="20161125000229"/>
  <p:tag name="MH_LIBRARY" val="GRAPHIC"/>
  <p:tag name="MH_TYPE" val="Other"/>
  <p:tag name="MH_ORDER" val="2"/>
</p:tagLst>
</file>

<file path=ppt/tags/tag33.xml><?xml version="1.0" encoding="utf-8"?>
<p:tagLst xmlns:p="http://schemas.openxmlformats.org/presentationml/2006/main">
  <p:tag name="MH" val="20161125000229"/>
  <p:tag name="MH_LIBRARY" val="GRAPHIC"/>
  <p:tag name="MH_TYPE" val="Other"/>
  <p:tag name="MH_ORDER" val="3"/>
</p:tagLst>
</file>

<file path=ppt/tags/tag34.xml><?xml version="1.0" encoding="utf-8"?>
<p:tagLst xmlns:p="http://schemas.openxmlformats.org/presentationml/2006/main">
  <p:tag name="MH" val="20161125000229"/>
  <p:tag name="MH_LIBRARY" val="GRAPHIC"/>
  <p:tag name="MH_TYPE" val="Other"/>
  <p:tag name="MH_ORDER" val="4"/>
</p:tagLst>
</file>

<file path=ppt/tags/tag35.xml><?xml version="1.0" encoding="utf-8"?>
<p:tagLst xmlns:p="http://schemas.openxmlformats.org/presentationml/2006/main">
  <p:tag name="MH_TYPE" val="#NeiR#"/>
  <p:tag name="MH_NUMBER" val="4"/>
  <p:tag name="MH_CATEGORY" val="#BingLLB#"/>
  <p:tag name="MH_LAYOUT" val="SubTitleText"/>
  <p:tag name="MH" val="20160929232046"/>
  <p:tag name="MH_LIBRARY" val="GRAPHIC"/>
</p:tagLst>
</file>

<file path=ppt/tags/tag36.xml><?xml version="1.0" encoding="utf-8"?>
<p:tagLst xmlns:p="http://schemas.openxmlformats.org/presentationml/2006/main">
  <p:tag name="MH" val="20161125000229"/>
  <p:tag name="MH_LIBRARY" val="GRAPHIC"/>
  <p:tag name="MH_TYPE" val="Title"/>
  <p:tag name="MH_ORDER" val="1"/>
</p:tagLst>
</file>

<file path=ppt/tags/tag37.xml><?xml version="1.0" encoding="utf-8"?>
<p:tagLst xmlns:p="http://schemas.openxmlformats.org/presentationml/2006/main">
  <p:tag name="MH" val="20161125000229"/>
  <p:tag name="MH_LIBRARY" val="GRAPHIC"/>
  <p:tag name="MH_TYPE" val="Other"/>
  <p:tag name="MH_ORDER" val="1"/>
</p:tagLst>
</file>

<file path=ppt/tags/tag38.xml><?xml version="1.0" encoding="utf-8"?>
<p:tagLst xmlns:p="http://schemas.openxmlformats.org/presentationml/2006/main">
  <p:tag name="MH" val="20161125000229"/>
  <p:tag name="MH_LIBRARY" val="GRAPHIC"/>
  <p:tag name="MH_TYPE" val="Other"/>
  <p:tag name="MH_ORDER" val="2"/>
</p:tagLst>
</file>

<file path=ppt/tags/tag39.xml><?xml version="1.0" encoding="utf-8"?>
<p:tagLst xmlns:p="http://schemas.openxmlformats.org/presentationml/2006/main">
  <p:tag name="MH" val="20161125000229"/>
  <p:tag name="MH_LIBRARY" val="GRAPHIC"/>
  <p:tag name="MH_TYPE" val="Other"/>
  <p:tag name="MH_ORDER" val="3"/>
</p:tagLst>
</file>

<file path=ppt/tags/tag4.xml><?xml version="1.0" encoding="utf-8"?>
<p:tagLst xmlns:p="http://schemas.openxmlformats.org/presentationml/2006/main">
  <p:tag name="MH" val="20161125000229"/>
  <p:tag name="MH_LIBRARY" val="GRAPHIC"/>
  <p:tag name="MH_TYPE" val="Other"/>
  <p:tag name="MH_ORDER" val="3"/>
</p:tagLst>
</file>

<file path=ppt/tags/tag40.xml><?xml version="1.0" encoding="utf-8"?>
<p:tagLst xmlns:p="http://schemas.openxmlformats.org/presentationml/2006/main">
  <p:tag name="MH" val="20161125000229"/>
  <p:tag name="MH_LIBRARY" val="GRAPHIC"/>
  <p:tag name="MH_TYPE" val="Other"/>
  <p:tag name="MH_ORDER" val="4"/>
</p:tagLst>
</file>

<file path=ppt/tags/tag41.xml><?xml version="1.0" encoding="utf-8"?>
<p:tagLst xmlns:p="http://schemas.openxmlformats.org/presentationml/2006/main">
  <p:tag name="MH_TYPE" val="#NeiR#"/>
  <p:tag name="MH_NUMBER" val="4"/>
  <p:tag name="MH_CATEGORY" val="#BingLLB#"/>
  <p:tag name="MH_LAYOUT" val="SubTitleText"/>
  <p:tag name="MH" val="20160929232046"/>
  <p:tag name="MH_LIBRARY" val="GRAPHIC"/>
</p:tagLst>
</file>

<file path=ppt/tags/tag42.xml><?xml version="1.0" encoding="utf-8"?>
<p:tagLst xmlns:p="http://schemas.openxmlformats.org/presentationml/2006/main">
  <p:tag name="MH" val="20161125000229"/>
  <p:tag name="MH_LIBRARY" val="GRAPHIC"/>
  <p:tag name="MH_TYPE" val="Title"/>
  <p:tag name="MH_ORDER" val="1"/>
</p:tagLst>
</file>

<file path=ppt/tags/tag43.xml><?xml version="1.0" encoding="utf-8"?>
<p:tagLst xmlns:p="http://schemas.openxmlformats.org/presentationml/2006/main">
  <p:tag name="MH" val="20161125000229"/>
  <p:tag name="MH_LIBRARY" val="GRAPHIC"/>
  <p:tag name="MH_TYPE" val="Other"/>
  <p:tag name="MH_ORDER" val="1"/>
</p:tagLst>
</file>

<file path=ppt/tags/tag44.xml><?xml version="1.0" encoding="utf-8"?>
<p:tagLst xmlns:p="http://schemas.openxmlformats.org/presentationml/2006/main">
  <p:tag name="MH" val="20161125000229"/>
  <p:tag name="MH_LIBRARY" val="GRAPHIC"/>
  <p:tag name="MH_TYPE" val="Other"/>
  <p:tag name="MH_ORDER" val="2"/>
</p:tagLst>
</file>

<file path=ppt/tags/tag45.xml><?xml version="1.0" encoding="utf-8"?>
<p:tagLst xmlns:p="http://schemas.openxmlformats.org/presentationml/2006/main">
  <p:tag name="MH" val="20161125000229"/>
  <p:tag name="MH_LIBRARY" val="GRAPHIC"/>
  <p:tag name="MH_TYPE" val="Other"/>
  <p:tag name="MH_ORDER" val="3"/>
</p:tagLst>
</file>

<file path=ppt/tags/tag46.xml><?xml version="1.0" encoding="utf-8"?>
<p:tagLst xmlns:p="http://schemas.openxmlformats.org/presentationml/2006/main">
  <p:tag name="MH" val="20161125000229"/>
  <p:tag name="MH_LIBRARY" val="GRAPHIC"/>
  <p:tag name="MH_TYPE" val="Other"/>
  <p:tag name="MH_ORDER" val="4"/>
</p:tagLst>
</file>

<file path=ppt/tags/tag47.xml><?xml version="1.0" encoding="utf-8"?>
<p:tagLst xmlns:p="http://schemas.openxmlformats.org/presentationml/2006/main">
  <p:tag name="MH_TYPE" val="#NeiR#"/>
  <p:tag name="MH_NUMBER" val="4"/>
  <p:tag name="MH_CATEGORY" val="#BingLLB#"/>
  <p:tag name="MH_LAYOUT" val="SubTitleText"/>
  <p:tag name="MH" val="20160929232046"/>
  <p:tag name="MH_LIBRARY" val="GRAPHIC"/>
</p:tagLst>
</file>

<file path=ppt/tags/tag48.xml><?xml version="1.0" encoding="utf-8"?>
<p:tagLst xmlns:p="http://schemas.openxmlformats.org/presentationml/2006/main">
  <p:tag name="MH" val="20161125000229"/>
  <p:tag name="MH_LIBRARY" val="GRAPHIC"/>
  <p:tag name="MH_TYPE" val="Title"/>
  <p:tag name="MH_ORDER" val="1"/>
</p:tagLst>
</file>

<file path=ppt/tags/tag49.xml><?xml version="1.0" encoding="utf-8"?>
<p:tagLst xmlns:p="http://schemas.openxmlformats.org/presentationml/2006/main">
  <p:tag name="MH" val="20161125000229"/>
  <p:tag name="MH_LIBRARY" val="GRAPHIC"/>
  <p:tag name="MH_TYPE" val="Other"/>
  <p:tag name="MH_ORDER" val="1"/>
</p:tagLst>
</file>

<file path=ppt/tags/tag5.xml><?xml version="1.0" encoding="utf-8"?>
<p:tagLst xmlns:p="http://schemas.openxmlformats.org/presentationml/2006/main">
  <p:tag name="MH" val="20161125000229"/>
  <p:tag name="MH_LIBRARY" val="GRAPHIC"/>
  <p:tag name="MH_TYPE" val="Other"/>
  <p:tag name="MH_ORDER" val="4"/>
</p:tagLst>
</file>

<file path=ppt/tags/tag50.xml><?xml version="1.0" encoding="utf-8"?>
<p:tagLst xmlns:p="http://schemas.openxmlformats.org/presentationml/2006/main">
  <p:tag name="MH" val="20161125000229"/>
  <p:tag name="MH_LIBRARY" val="GRAPHIC"/>
  <p:tag name="MH_TYPE" val="Other"/>
  <p:tag name="MH_ORDER" val="2"/>
</p:tagLst>
</file>

<file path=ppt/tags/tag51.xml><?xml version="1.0" encoding="utf-8"?>
<p:tagLst xmlns:p="http://schemas.openxmlformats.org/presentationml/2006/main">
  <p:tag name="MH" val="20161125000229"/>
  <p:tag name="MH_LIBRARY" val="GRAPHIC"/>
  <p:tag name="MH_TYPE" val="Other"/>
  <p:tag name="MH_ORDER" val="3"/>
</p:tagLst>
</file>

<file path=ppt/tags/tag52.xml><?xml version="1.0" encoding="utf-8"?>
<p:tagLst xmlns:p="http://schemas.openxmlformats.org/presentationml/2006/main">
  <p:tag name="MH" val="20161125000229"/>
  <p:tag name="MH_LIBRARY" val="GRAPHIC"/>
  <p:tag name="MH_TYPE" val="Other"/>
  <p:tag name="MH_ORDER" val="4"/>
</p:tagLst>
</file>

<file path=ppt/tags/tag53.xml><?xml version="1.0" encoding="utf-8"?>
<p:tagLst xmlns:p="http://schemas.openxmlformats.org/presentationml/2006/main">
  <p:tag name="MH_TYPE" val="#NeiR#"/>
  <p:tag name="MH_NUMBER" val="4"/>
  <p:tag name="MH_CATEGORY" val="#BingLLB#"/>
  <p:tag name="MH_LAYOUT" val="SubTitleText"/>
  <p:tag name="MH" val="20160929232046"/>
  <p:tag name="MH_LIBRARY" val="GRAPHIC"/>
</p:tagLst>
</file>

<file path=ppt/tags/tag54.xml><?xml version="1.0" encoding="utf-8"?>
<p:tagLst xmlns:p="http://schemas.openxmlformats.org/presentationml/2006/main">
  <p:tag name="MH" val="20161125000229"/>
  <p:tag name="MH_LIBRARY" val="GRAPHIC"/>
  <p:tag name="MH_TYPE" val="Title"/>
  <p:tag name="MH_ORDER" val="1"/>
</p:tagLst>
</file>

<file path=ppt/tags/tag55.xml><?xml version="1.0" encoding="utf-8"?>
<p:tagLst xmlns:p="http://schemas.openxmlformats.org/presentationml/2006/main">
  <p:tag name="MH" val="20161125000229"/>
  <p:tag name="MH_LIBRARY" val="GRAPHIC"/>
  <p:tag name="MH_TYPE" val="Other"/>
  <p:tag name="MH_ORDER" val="1"/>
</p:tagLst>
</file>

<file path=ppt/tags/tag56.xml><?xml version="1.0" encoding="utf-8"?>
<p:tagLst xmlns:p="http://schemas.openxmlformats.org/presentationml/2006/main">
  <p:tag name="MH" val="20161125000229"/>
  <p:tag name="MH_LIBRARY" val="GRAPHIC"/>
  <p:tag name="MH_TYPE" val="Other"/>
  <p:tag name="MH_ORDER" val="2"/>
</p:tagLst>
</file>

<file path=ppt/tags/tag57.xml><?xml version="1.0" encoding="utf-8"?>
<p:tagLst xmlns:p="http://schemas.openxmlformats.org/presentationml/2006/main">
  <p:tag name="MH" val="20161125000229"/>
  <p:tag name="MH_LIBRARY" val="GRAPHIC"/>
  <p:tag name="MH_TYPE" val="Other"/>
  <p:tag name="MH_ORDER" val="3"/>
</p:tagLst>
</file>

<file path=ppt/tags/tag58.xml><?xml version="1.0" encoding="utf-8"?>
<p:tagLst xmlns:p="http://schemas.openxmlformats.org/presentationml/2006/main">
  <p:tag name="MH" val="20161125000229"/>
  <p:tag name="MH_LIBRARY" val="GRAPHIC"/>
  <p:tag name="MH_TYPE" val="Other"/>
  <p:tag name="MH_ORDER" val="4"/>
</p:tagLst>
</file>

<file path=ppt/tags/tag59.xml><?xml version="1.0" encoding="utf-8"?>
<p:tagLst xmlns:p="http://schemas.openxmlformats.org/presentationml/2006/main">
  <p:tag name="MH_TYPE" val="#NeiR#"/>
  <p:tag name="MH_NUMBER" val="4"/>
  <p:tag name="MH_CATEGORY" val="#BingLLB#"/>
  <p:tag name="MH_LAYOUT" val="SubTitleText"/>
  <p:tag name="MH" val="20160929232046"/>
  <p:tag name="MH_LIBRARY" val="GRAPHIC"/>
</p:tagLst>
</file>

<file path=ppt/tags/tag6.xml><?xml version="1.0" encoding="utf-8"?>
<p:tagLst xmlns:p="http://schemas.openxmlformats.org/presentationml/2006/main">
  <p:tag name="MH" val="20161125000229"/>
  <p:tag name="MH_LIBRARY" val="GRAPHIC"/>
  <p:tag name="MH_TYPE" val="Title"/>
  <p:tag name="MH_ORDER" val="1"/>
</p:tagLst>
</file>

<file path=ppt/tags/tag60.xml><?xml version="1.0" encoding="utf-8"?>
<p:tagLst xmlns:p="http://schemas.openxmlformats.org/presentationml/2006/main">
  <p:tag name="MH" val="20161125000229"/>
  <p:tag name="MH_LIBRARY" val="GRAPHIC"/>
  <p:tag name="MH_TYPE" val="Title"/>
  <p:tag name="MH_ORDER" val="1"/>
</p:tagLst>
</file>

<file path=ppt/tags/tag61.xml><?xml version="1.0" encoding="utf-8"?>
<p:tagLst xmlns:p="http://schemas.openxmlformats.org/presentationml/2006/main">
  <p:tag name="MH" val="20161125000229"/>
  <p:tag name="MH_LIBRARY" val="GRAPHIC"/>
  <p:tag name="MH_TYPE" val="Other"/>
  <p:tag name="MH_ORDER" val="1"/>
</p:tagLst>
</file>

<file path=ppt/tags/tag62.xml><?xml version="1.0" encoding="utf-8"?>
<p:tagLst xmlns:p="http://schemas.openxmlformats.org/presentationml/2006/main">
  <p:tag name="MH" val="20161125000229"/>
  <p:tag name="MH_LIBRARY" val="GRAPHIC"/>
  <p:tag name="MH_TYPE" val="Other"/>
  <p:tag name="MH_ORDER" val="2"/>
</p:tagLst>
</file>

<file path=ppt/tags/tag63.xml><?xml version="1.0" encoding="utf-8"?>
<p:tagLst xmlns:p="http://schemas.openxmlformats.org/presentationml/2006/main">
  <p:tag name="MH" val="20161125000229"/>
  <p:tag name="MH_LIBRARY" val="GRAPHIC"/>
  <p:tag name="MH_TYPE" val="Other"/>
  <p:tag name="MH_ORDER" val="3"/>
</p:tagLst>
</file>

<file path=ppt/tags/tag64.xml><?xml version="1.0" encoding="utf-8"?>
<p:tagLst xmlns:p="http://schemas.openxmlformats.org/presentationml/2006/main">
  <p:tag name="MH" val="20161125000229"/>
  <p:tag name="MH_LIBRARY" val="GRAPHIC"/>
  <p:tag name="MH_TYPE" val="Other"/>
  <p:tag name="MH_ORDER" val="4"/>
</p:tagLst>
</file>

<file path=ppt/tags/tag65.xml><?xml version="1.0" encoding="utf-8"?>
<p:tagLst xmlns:p="http://schemas.openxmlformats.org/presentationml/2006/main">
  <p:tag name="MH_TYPE" val="#NeiR#"/>
  <p:tag name="MH_NUMBER" val="4"/>
  <p:tag name="MH_CATEGORY" val="#BingLLB#"/>
  <p:tag name="MH_LAYOUT" val="SubTitleText"/>
  <p:tag name="MH" val="20160929232046"/>
  <p:tag name="MH_LIBRARY" val="GRAPHIC"/>
</p:tagLst>
</file>

<file path=ppt/tags/tag66.xml><?xml version="1.0" encoding="utf-8"?>
<p:tagLst xmlns:p="http://schemas.openxmlformats.org/presentationml/2006/main">
  <p:tag name="MH" val="20161125000229"/>
  <p:tag name="MH_LIBRARY" val="GRAPHIC"/>
  <p:tag name="MH_TYPE" val="Title"/>
  <p:tag name="MH_ORDER" val="1"/>
</p:tagLst>
</file>

<file path=ppt/tags/tag67.xml><?xml version="1.0" encoding="utf-8"?>
<p:tagLst xmlns:p="http://schemas.openxmlformats.org/presentationml/2006/main">
  <p:tag name="MH" val="20161125000229"/>
  <p:tag name="MH_LIBRARY" val="GRAPHIC"/>
  <p:tag name="MH_TYPE" val="Other"/>
  <p:tag name="MH_ORDER" val="1"/>
</p:tagLst>
</file>

<file path=ppt/tags/tag68.xml><?xml version="1.0" encoding="utf-8"?>
<p:tagLst xmlns:p="http://schemas.openxmlformats.org/presentationml/2006/main">
  <p:tag name="MH" val="20161125000229"/>
  <p:tag name="MH_LIBRARY" val="GRAPHIC"/>
  <p:tag name="MH_TYPE" val="Other"/>
  <p:tag name="MH_ORDER" val="2"/>
</p:tagLst>
</file>

<file path=ppt/tags/tag69.xml><?xml version="1.0" encoding="utf-8"?>
<p:tagLst xmlns:p="http://schemas.openxmlformats.org/presentationml/2006/main">
  <p:tag name="MH" val="20161125000229"/>
  <p:tag name="MH_LIBRARY" val="GRAPHIC"/>
  <p:tag name="MH_TYPE" val="Other"/>
  <p:tag name="MH_ORDER" val="3"/>
</p:tagLst>
</file>

<file path=ppt/tags/tag7.xml><?xml version="1.0" encoding="utf-8"?>
<p:tagLst xmlns:p="http://schemas.openxmlformats.org/presentationml/2006/main">
  <p:tag name="MH" val="20161125000229"/>
  <p:tag name="MH_LIBRARY" val="GRAPHIC"/>
  <p:tag name="MH_TYPE" val="Other"/>
  <p:tag name="MH_ORDER" val="1"/>
</p:tagLst>
</file>

<file path=ppt/tags/tag70.xml><?xml version="1.0" encoding="utf-8"?>
<p:tagLst xmlns:p="http://schemas.openxmlformats.org/presentationml/2006/main">
  <p:tag name="MH" val="20161125000229"/>
  <p:tag name="MH_LIBRARY" val="GRAPHIC"/>
  <p:tag name="MH_TYPE" val="Other"/>
  <p:tag name="MH_ORDER" val="4"/>
</p:tagLst>
</file>

<file path=ppt/tags/tag71.xml><?xml version="1.0" encoding="utf-8"?>
<p:tagLst xmlns:p="http://schemas.openxmlformats.org/presentationml/2006/main">
  <p:tag name="MH_TYPE" val="#NeiR#"/>
  <p:tag name="MH_NUMBER" val="4"/>
  <p:tag name="MH_CATEGORY" val="#BingLLB#"/>
  <p:tag name="MH_LAYOUT" val="SubTitleText"/>
  <p:tag name="MH" val="20160929232046"/>
  <p:tag name="MH_LIBRARY" val="GRAPHIC"/>
</p:tagLst>
</file>

<file path=ppt/tags/tag72.xml><?xml version="1.0" encoding="utf-8"?>
<p:tagLst xmlns:p="http://schemas.openxmlformats.org/presentationml/2006/main">
  <p:tag name="MH" val="20161125000229"/>
  <p:tag name="MH_LIBRARY" val="GRAPHIC"/>
  <p:tag name="MH_TYPE" val="Title"/>
  <p:tag name="MH_ORDER" val="1"/>
</p:tagLst>
</file>

<file path=ppt/tags/tag73.xml><?xml version="1.0" encoding="utf-8"?>
<p:tagLst xmlns:p="http://schemas.openxmlformats.org/presentationml/2006/main">
  <p:tag name="MH" val="20161125000229"/>
  <p:tag name="MH_LIBRARY" val="GRAPHIC"/>
  <p:tag name="MH_TYPE" val="Other"/>
  <p:tag name="MH_ORDER" val="1"/>
</p:tagLst>
</file>

<file path=ppt/tags/tag74.xml><?xml version="1.0" encoding="utf-8"?>
<p:tagLst xmlns:p="http://schemas.openxmlformats.org/presentationml/2006/main">
  <p:tag name="MH" val="20161125000229"/>
  <p:tag name="MH_LIBRARY" val="GRAPHIC"/>
  <p:tag name="MH_TYPE" val="Other"/>
  <p:tag name="MH_ORDER" val="2"/>
</p:tagLst>
</file>

<file path=ppt/tags/tag75.xml><?xml version="1.0" encoding="utf-8"?>
<p:tagLst xmlns:p="http://schemas.openxmlformats.org/presentationml/2006/main">
  <p:tag name="MH" val="20161125000229"/>
  <p:tag name="MH_LIBRARY" val="GRAPHIC"/>
  <p:tag name="MH_TYPE" val="Other"/>
  <p:tag name="MH_ORDER" val="3"/>
</p:tagLst>
</file>

<file path=ppt/tags/tag76.xml><?xml version="1.0" encoding="utf-8"?>
<p:tagLst xmlns:p="http://schemas.openxmlformats.org/presentationml/2006/main">
  <p:tag name="MH" val="20161125000229"/>
  <p:tag name="MH_LIBRARY" val="GRAPHIC"/>
  <p:tag name="MH_TYPE" val="Other"/>
  <p:tag name="MH_ORDER" val="4"/>
</p:tagLst>
</file>

<file path=ppt/tags/tag77.xml><?xml version="1.0" encoding="utf-8"?>
<p:tagLst xmlns:p="http://schemas.openxmlformats.org/presentationml/2006/main">
  <p:tag name="MH_TYPE" val="#NeiR#"/>
  <p:tag name="MH_NUMBER" val="4"/>
  <p:tag name="MH_CATEGORY" val="#BingLLB#"/>
  <p:tag name="MH_LAYOUT" val="SubTitleText"/>
  <p:tag name="MH" val="20160929232046"/>
  <p:tag name="MH_LIBRARY" val="GRAPHIC"/>
</p:tagLst>
</file>

<file path=ppt/tags/tag78.xml><?xml version="1.0" encoding="utf-8"?>
<p:tagLst xmlns:p="http://schemas.openxmlformats.org/presentationml/2006/main">
  <p:tag name="MH" val="20161125000229"/>
  <p:tag name="MH_LIBRARY" val="GRAPHIC"/>
  <p:tag name="MH_TYPE" val="Title"/>
  <p:tag name="MH_ORDER" val="1"/>
</p:tagLst>
</file>

<file path=ppt/tags/tag79.xml><?xml version="1.0" encoding="utf-8"?>
<p:tagLst xmlns:p="http://schemas.openxmlformats.org/presentationml/2006/main">
  <p:tag name="MH" val="20161125000229"/>
  <p:tag name="MH_LIBRARY" val="GRAPHIC"/>
  <p:tag name="MH_TYPE" val="Other"/>
  <p:tag name="MH_ORDER" val="1"/>
</p:tagLst>
</file>

<file path=ppt/tags/tag8.xml><?xml version="1.0" encoding="utf-8"?>
<p:tagLst xmlns:p="http://schemas.openxmlformats.org/presentationml/2006/main">
  <p:tag name="MH" val="20161125000229"/>
  <p:tag name="MH_LIBRARY" val="GRAPHIC"/>
  <p:tag name="MH_TYPE" val="Other"/>
  <p:tag name="MH_ORDER" val="2"/>
</p:tagLst>
</file>

<file path=ppt/tags/tag80.xml><?xml version="1.0" encoding="utf-8"?>
<p:tagLst xmlns:p="http://schemas.openxmlformats.org/presentationml/2006/main">
  <p:tag name="MH" val="20161125000229"/>
  <p:tag name="MH_LIBRARY" val="GRAPHIC"/>
  <p:tag name="MH_TYPE" val="Other"/>
  <p:tag name="MH_ORDER" val="2"/>
</p:tagLst>
</file>

<file path=ppt/tags/tag81.xml><?xml version="1.0" encoding="utf-8"?>
<p:tagLst xmlns:p="http://schemas.openxmlformats.org/presentationml/2006/main">
  <p:tag name="MH" val="20161125000229"/>
  <p:tag name="MH_LIBRARY" val="GRAPHIC"/>
  <p:tag name="MH_TYPE" val="Other"/>
  <p:tag name="MH_ORDER" val="3"/>
</p:tagLst>
</file>

<file path=ppt/tags/tag82.xml><?xml version="1.0" encoding="utf-8"?>
<p:tagLst xmlns:p="http://schemas.openxmlformats.org/presentationml/2006/main">
  <p:tag name="MH" val="20161125000229"/>
  <p:tag name="MH_LIBRARY" val="GRAPHIC"/>
  <p:tag name="MH_TYPE" val="Other"/>
  <p:tag name="MH_ORDER" val="4"/>
</p:tagLst>
</file>

<file path=ppt/tags/tag83.xml><?xml version="1.0" encoding="utf-8"?>
<p:tagLst xmlns:p="http://schemas.openxmlformats.org/presentationml/2006/main">
  <p:tag name="MH_TYPE" val="#NeiR#"/>
  <p:tag name="MH_NUMBER" val="4"/>
  <p:tag name="MH_CATEGORY" val="#BingLLB#"/>
  <p:tag name="MH_LAYOUT" val="SubTitleText"/>
  <p:tag name="MH" val="20160929232046"/>
  <p:tag name="MH_LIBRARY" val="GRAPHIC"/>
</p:tagLst>
</file>

<file path=ppt/tags/tag84.xml><?xml version="1.0" encoding="utf-8"?>
<p:tagLst xmlns:p="http://schemas.openxmlformats.org/presentationml/2006/main">
  <p:tag name="MH" val="20161125000229"/>
  <p:tag name="MH_LIBRARY" val="GRAPHIC"/>
  <p:tag name="MH_TYPE" val="Title"/>
  <p:tag name="MH_ORDER" val="1"/>
</p:tagLst>
</file>

<file path=ppt/tags/tag85.xml><?xml version="1.0" encoding="utf-8"?>
<p:tagLst xmlns:p="http://schemas.openxmlformats.org/presentationml/2006/main">
  <p:tag name="MH" val="20161125000229"/>
  <p:tag name="MH_LIBRARY" val="GRAPHIC"/>
  <p:tag name="MH_TYPE" val="Other"/>
  <p:tag name="MH_ORDER" val="1"/>
</p:tagLst>
</file>

<file path=ppt/tags/tag86.xml><?xml version="1.0" encoding="utf-8"?>
<p:tagLst xmlns:p="http://schemas.openxmlformats.org/presentationml/2006/main">
  <p:tag name="MH" val="20161125000229"/>
  <p:tag name="MH_LIBRARY" val="GRAPHIC"/>
  <p:tag name="MH_TYPE" val="Other"/>
  <p:tag name="MH_ORDER" val="2"/>
</p:tagLst>
</file>

<file path=ppt/tags/tag87.xml><?xml version="1.0" encoding="utf-8"?>
<p:tagLst xmlns:p="http://schemas.openxmlformats.org/presentationml/2006/main">
  <p:tag name="MH" val="20161125000229"/>
  <p:tag name="MH_LIBRARY" val="GRAPHIC"/>
  <p:tag name="MH_TYPE" val="Other"/>
  <p:tag name="MH_ORDER" val="3"/>
</p:tagLst>
</file>

<file path=ppt/tags/tag88.xml><?xml version="1.0" encoding="utf-8"?>
<p:tagLst xmlns:p="http://schemas.openxmlformats.org/presentationml/2006/main">
  <p:tag name="MH" val="20161125000229"/>
  <p:tag name="MH_LIBRARY" val="GRAPHIC"/>
  <p:tag name="MH_TYPE" val="Other"/>
  <p:tag name="MH_ORDER" val="4"/>
</p:tagLst>
</file>

<file path=ppt/tags/tag89.xml><?xml version="1.0" encoding="utf-8"?>
<p:tagLst xmlns:p="http://schemas.openxmlformats.org/presentationml/2006/main">
  <p:tag name="MH_TYPE" val="#NeiR#"/>
  <p:tag name="MH_NUMBER" val="4"/>
  <p:tag name="MH_CATEGORY" val="#BingLLB#"/>
  <p:tag name="MH_LAYOUT" val="SubTitleText"/>
  <p:tag name="MH" val="20160929232046"/>
  <p:tag name="MH_LIBRARY" val="GRAPHIC"/>
</p:tagLst>
</file>

<file path=ppt/tags/tag9.xml><?xml version="1.0" encoding="utf-8"?>
<p:tagLst xmlns:p="http://schemas.openxmlformats.org/presentationml/2006/main">
  <p:tag name="MH" val="20161125000229"/>
  <p:tag name="MH_LIBRARY" val="GRAPHIC"/>
  <p:tag name="MH_TYPE" val="Other"/>
  <p:tag name="MH_ORDER" val="3"/>
</p:tagLst>
</file>

<file path=ppt/tags/tag90.xml><?xml version="1.0" encoding="utf-8"?>
<p:tagLst xmlns:p="http://schemas.openxmlformats.org/presentationml/2006/main">
  <p:tag name="MH" val="20161125000229"/>
  <p:tag name="MH_LIBRARY" val="GRAPHIC"/>
  <p:tag name="MH_TYPE" val="Title"/>
  <p:tag name="MH_ORDER" val="1"/>
</p:tagLst>
</file>

<file path=ppt/tags/tag91.xml><?xml version="1.0" encoding="utf-8"?>
<p:tagLst xmlns:p="http://schemas.openxmlformats.org/presentationml/2006/main">
  <p:tag name="MH" val="20161125000229"/>
  <p:tag name="MH_LIBRARY" val="GRAPHIC"/>
  <p:tag name="MH_TYPE" val="Other"/>
  <p:tag name="MH_ORDER" val="1"/>
</p:tagLst>
</file>

<file path=ppt/tags/tag92.xml><?xml version="1.0" encoding="utf-8"?>
<p:tagLst xmlns:p="http://schemas.openxmlformats.org/presentationml/2006/main">
  <p:tag name="MH" val="20161125000229"/>
  <p:tag name="MH_LIBRARY" val="GRAPHIC"/>
  <p:tag name="MH_TYPE" val="Other"/>
  <p:tag name="MH_ORDER" val="2"/>
</p:tagLst>
</file>

<file path=ppt/tags/tag93.xml><?xml version="1.0" encoding="utf-8"?>
<p:tagLst xmlns:p="http://schemas.openxmlformats.org/presentationml/2006/main">
  <p:tag name="MH" val="20161125000229"/>
  <p:tag name="MH_LIBRARY" val="GRAPHIC"/>
  <p:tag name="MH_TYPE" val="Other"/>
  <p:tag name="MH_ORDER" val="3"/>
</p:tagLst>
</file>

<file path=ppt/tags/tag94.xml><?xml version="1.0" encoding="utf-8"?>
<p:tagLst xmlns:p="http://schemas.openxmlformats.org/presentationml/2006/main">
  <p:tag name="MH" val="20161125000229"/>
  <p:tag name="MH_LIBRARY" val="GRAPHIC"/>
  <p:tag name="MH_TYPE" val="Other"/>
  <p:tag name="MH_ORDER" val="4"/>
</p:tagLst>
</file>

<file path=ppt/tags/tag95.xml><?xml version="1.0" encoding="utf-8"?>
<p:tagLst xmlns:p="http://schemas.openxmlformats.org/presentationml/2006/main">
  <p:tag name="MH_TYPE" val="#NeiR#"/>
  <p:tag name="MH_NUMBER" val="4"/>
  <p:tag name="MH_CATEGORY" val="#BingLLB#"/>
  <p:tag name="MH_LAYOUT" val="SubTitleText"/>
  <p:tag name="MH" val="20160929232046"/>
  <p:tag name="MH_LIBRARY" val="GRAPHIC"/>
</p:tagLst>
</file>

<file path=ppt/tags/tag96.xml><?xml version="1.0" encoding="utf-8"?>
<p:tagLst xmlns:p="http://schemas.openxmlformats.org/presentationml/2006/main">
  <p:tag name="MH" val="20161125000229"/>
  <p:tag name="MH_LIBRARY" val="GRAPHIC"/>
  <p:tag name="MH_TYPE" val="Title"/>
  <p:tag name="MH_ORDER" val="1"/>
</p:tagLst>
</file>

<file path=ppt/tags/tag97.xml><?xml version="1.0" encoding="utf-8"?>
<p:tagLst xmlns:p="http://schemas.openxmlformats.org/presentationml/2006/main">
  <p:tag name="MH" val="20161125000229"/>
  <p:tag name="MH_LIBRARY" val="GRAPHIC"/>
  <p:tag name="MH_TYPE" val="Other"/>
  <p:tag name="MH_ORDER" val="1"/>
</p:tagLst>
</file>

<file path=ppt/tags/tag98.xml><?xml version="1.0" encoding="utf-8"?>
<p:tagLst xmlns:p="http://schemas.openxmlformats.org/presentationml/2006/main">
  <p:tag name="MH" val="20161125000229"/>
  <p:tag name="MH_LIBRARY" val="GRAPHIC"/>
  <p:tag name="MH_TYPE" val="Other"/>
  <p:tag name="MH_ORDER" val="2"/>
</p:tagLst>
</file>

<file path=ppt/tags/tag99.xml><?xml version="1.0" encoding="utf-8"?>
<p:tagLst xmlns:p="http://schemas.openxmlformats.org/presentationml/2006/main">
  <p:tag name="MH" val="20161125000229"/>
  <p:tag name="MH_LIBRARY" val="GRAPHIC"/>
  <p:tag name="MH_TYPE" val="Other"/>
  <p:tag name="MH_ORDER" val="3"/>
</p:tagLst>
</file>

<file path=ppt/theme/theme1.xml><?xml version="1.0" encoding="utf-8"?>
<a:theme xmlns:a="http://schemas.openxmlformats.org/drawingml/2006/main" name="Office 主题">
  <a:themeElements>
    <a:clrScheme name="自定义 45">
      <a:dk1>
        <a:srgbClr val="3F3F3F"/>
      </a:dk1>
      <a:lt1>
        <a:srgbClr val="FFFFFF"/>
      </a:lt1>
      <a:dk2>
        <a:srgbClr val="44546A"/>
      </a:dk2>
      <a:lt2>
        <a:srgbClr val="E7E6E6"/>
      </a:lt2>
      <a:accent1>
        <a:srgbClr val="E76861"/>
      </a:accent1>
      <a:accent2>
        <a:srgbClr val="3F5361"/>
      </a:accent2>
      <a:accent3>
        <a:srgbClr val="5BA78C"/>
      </a:accent3>
      <a:accent4>
        <a:srgbClr val="E5AB74"/>
      </a:accent4>
      <a:accent5>
        <a:srgbClr val="3C8BA7"/>
      </a:accent5>
      <a:accent6>
        <a:srgbClr val="7FC481"/>
      </a:accent6>
      <a:hlink>
        <a:srgbClr val="85B5BC"/>
      </a:hlink>
      <a:folHlink>
        <a:srgbClr val="954F72"/>
      </a:folHlink>
    </a:clrScheme>
    <a:fontScheme name="自定义 10">
      <a:majorFont>
        <a:latin typeface="Calibri Light"/>
        <a:ea typeface="微软雅黑"/>
        <a:cs typeface=""/>
      </a:majorFont>
      <a:minorFont>
        <a:latin typeface="Calibri Light"/>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3073</Words>
  <Application>WPS 演示</Application>
  <PresentationFormat>宽屏</PresentationFormat>
  <Paragraphs>280</Paragraphs>
  <Slides>29</Slides>
  <Notes>29</Notes>
  <HiddenSlides>0</HiddenSlides>
  <MMClips>0</MMClips>
  <ScaleCrop>false</ScaleCrop>
  <HeadingPairs>
    <vt:vector size="6" baseType="variant">
      <vt:variant>
        <vt:lpstr>已用的字体</vt:lpstr>
      </vt:variant>
      <vt:variant>
        <vt:i4>19</vt:i4>
      </vt:variant>
      <vt:variant>
        <vt:lpstr>主题</vt:lpstr>
      </vt:variant>
      <vt:variant>
        <vt:i4>1</vt:i4>
      </vt:variant>
      <vt:variant>
        <vt:lpstr>幻灯片标题</vt:lpstr>
      </vt:variant>
      <vt:variant>
        <vt:i4>29</vt:i4>
      </vt:variant>
    </vt:vector>
  </HeadingPairs>
  <TitlesOfParts>
    <vt:vector size="49" baseType="lpstr">
      <vt:lpstr>Arial</vt:lpstr>
      <vt:lpstr>宋体</vt:lpstr>
      <vt:lpstr>Wingdings</vt:lpstr>
      <vt:lpstr>微软雅黑</vt:lpstr>
      <vt:lpstr>Kozuka Gothic Pr6N B</vt:lpstr>
      <vt:lpstr>Calibri</vt:lpstr>
      <vt:lpstr>Arial Unicode MS</vt:lpstr>
      <vt:lpstr>Adobe Gothic Std B</vt:lpstr>
      <vt:lpstr>Calibri Light</vt:lpstr>
      <vt:lpstr>Arial Unicode MS</vt:lpstr>
      <vt:lpstr>黑体</vt:lpstr>
      <vt:lpstr>Arial Narrow</vt:lpstr>
      <vt:lpstr>Calibri</vt:lpstr>
      <vt:lpstr>Narkisim</vt:lpstr>
      <vt:lpstr>Segoe Print</vt:lpstr>
      <vt:lpstr>Yu Gothic UI Semibold</vt:lpstr>
      <vt:lpstr>Adobe Gothic Std B</vt:lpstr>
      <vt:lpstr>Kozuka Gothic Pr6N B</vt:lpstr>
      <vt:lpstr>Narkisim</vt:lpstr>
      <vt:lpstr>Office 主题</vt:lpstr>
      <vt:lpstr>Django框架</vt:lpstr>
      <vt:lpstr>知识回顾:</vt:lpstr>
      <vt:lpstr>PowerPoint 演示文稿</vt:lpstr>
      <vt:lpstr>中间件的引入:</vt:lpstr>
      <vt:lpstr>django中的中间件:</vt:lpstr>
      <vt:lpstr>中间件的结构:</vt:lpstr>
      <vt:lpstr>中间的执行顺序:</vt:lpstr>
      <vt:lpstr>自定义中间件第一种方式例子:</vt:lpstr>
      <vt:lpstr>自定义中间件第二种方式例子:</vt:lpstr>
      <vt:lpstr>注册中间件:</vt:lpstr>
      <vt:lpstr>上下文处理器是个什么东西呢?</vt:lpstr>
      <vt:lpstr>上下文处理器的引入:</vt:lpstr>
      <vt:lpstr>自定义上下文处理器例子:</vt:lpstr>
      <vt:lpstr>自定义上下文处理器例子:</vt:lpstr>
      <vt:lpstr>注册上下文处理器:</vt:lpstr>
      <vt:lpstr>中间件和上下文的总结:</vt:lpstr>
      <vt:lpstr>admin后台的引入:</vt:lpstr>
      <vt:lpstr>admin后台系统:</vt:lpstr>
      <vt:lpstr>介绍 Django 管理页面:</vt:lpstr>
      <vt:lpstr>admin创建用户:</vt:lpstr>
      <vt:lpstr>管理界面本地化:</vt:lpstr>
      <vt:lpstr>向admin中注册模型:</vt:lpstr>
      <vt:lpstr>admin后台页面显示:</vt:lpstr>
      <vt:lpstr>admin后台操作:</vt:lpstr>
      <vt:lpstr>自定义管理页面:</vt:lpstr>
      <vt:lpstr>自定义管理页面例子:</vt:lpstr>
      <vt:lpstr>总结</vt:lpstr>
      <vt:lpstr>作业:</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3</dc:title>
  <dc:creator>Admin</dc:creator>
  <cp:lastModifiedBy>JiaNeng</cp:lastModifiedBy>
  <cp:revision>425</cp:revision>
  <dcterms:created xsi:type="dcterms:W3CDTF">2016-11-22T14:17:00Z</dcterms:created>
  <dcterms:modified xsi:type="dcterms:W3CDTF">2019-09-20T15:03: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1.1.0.8976</vt:lpwstr>
  </property>
</Properties>
</file>